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  <p:sldId id="257" r:id="rId3"/>
  </p:sldIdLst>
  <p:sldSz cx="27420888" cy="15297150"/>
  <p:notesSz cx="27420888" cy="1529715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</p:embeddedFontLst>
  <p:custDataLst>
    <p:tags r:id="rId8"/>
  </p:custDataLst>
  <p:defaultTextStyle/>
  <p:extLst>
    <p:ext uri="{EFAFB233-063F-42B5-8137-9DF3F51BA10A}">
      <p15:sldGuideLst xmlns:p15="http://schemas.microsoft.com/office/powerpoint/2012/main">
        <p15:guide id="1" orient="horz" pos="4818" userDrawn="1">
          <p15:clr>
            <a:srgbClr val="A4A3A4"/>
          </p15:clr>
        </p15:guide>
        <p15:guide id="2" pos="86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52EAC0-7E54-40B5-8B61-BEA26C811419}" v="127" dt="2023-11-10T14:39:05.7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70" d="100"/>
          <a:sy n="70" d="100"/>
        </p:scale>
        <p:origin x="1896" y="78"/>
      </p:cViewPr>
      <p:guideLst>
        <p:guide orient="horz" pos="4818"/>
        <p:guide pos="863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font" Target="fonts/font4.fntdata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theme" Target="theme/theme1.xml"/><Relationship Id="rId5" Type="http://schemas.openxmlformats.org/officeDocument/2006/relationships/font" Target="fonts/font2.fntdata"/><Relationship Id="rId10" Type="http://schemas.openxmlformats.org/officeDocument/2006/relationships/viewProps" Target="viewProps.xml"/><Relationship Id="rId4" Type="http://schemas.openxmlformats.org/officeDocument/2006/relationships/font" Target="fonts/font1.fntdata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tan, Ivica (DI FA HMI COS IT)" userId="868e453d-95b4-44c2-aba0-7a1c60073264" providerId="ADAL" clId="{6F52EAC0-7E54-40B5-8B61-BEA26C811419}"/>
    <pc:docChg chg="undo custSel addSld modSld">
      <pc:chgData name="Brtan, Ivica (DI FA HMI COS IT)" userId="868e453d-95b4-44c2-aba0-7a1c60073264" providerId="ADAL" clId="{6F52EAC0-7E54-40B5-8B61-BEA26C811419}" dt="2023-11-10T14:45:00.452" v="797" actId="14100"/>
      <pc:docMkLst>
        <pc:docMk/>
      </pc:docMkLst>
      <pc:sldChg chg="addSp modSp mod">
        <pc:chgData name="Brtan, Ivica (DI FA HMI COS IT)" userId="868e453d-95b4-44c2-aba0-7a1c60073264" providerId="ADAL" clId="{6F52EAC0-7E54-40B5-8B61-BEA26C811419}" dt="2023-11-10T14:45:00.452" v="797" actId="14100"/>
        <pc:sldMkLst>
          <pc:docMk/>
          <pc:sldMk cId="0" sldId="256"/>
        </pc:sldMkLst>
        <pc:spChg chg="mod">
          <ac:chgData name="Brtan, Ivica (DI FA HMI COS IT)" userId="868e453d-95b4-44c2-aba0-7a1c60073264" providerId="ADAL" clId="{6F52EAC0-7E54-40B5-8B61-BEA26C811419}" dt="2023-11-10T14:44:45.818" v="796" actId="14100"/>
          <ac:spMkLst>
            <pc:docMk/>
            <pc:sldMk cId="0" sldId="256"/>
            <ac:spMk id="3" creationId="{4C68D6BA-6BAE-2E62-B770-3DE2E1F1B5EA}"/>
          </ac:spMkLst>
        </pc:spChg>
        <pc:spChg chg="mod">
          <ac:chgData name="Brtan, Ivica (DI FA HMI COS IT)" userId="868e453d-95b4-44c2-aba0-7a1c60073264" providerId="ADAL" clId="{6F52EAC0-7E54-40B5-8B61-BEA26C811419}" dt="2023-11-09T07:29:07.701" v="164" actId="20577"/>
          <ac:spMkLst>
            <pc:docMk/>
            <pc:sldMk cId="0" sldId="256"/>
            <ac:spMk id="6" creationId="{CF32695A-6763-D71E-BB8F-981446D89EA7}"/>
          </ac:spMkLst>
        </pc:spChg>
        <pc:spChg chg="mod">
          <ac:chgData name="Brtan, Ivica (DI FA HMI COS IT)" userId="868e453d-95b4-44c2-aba0-7a1c60073264" providerId="ADAL" clId="{6F52EAC0-7E54-40B5-8B61-BEA26C811419}" dt="2023-11-09T07:26:03.901" v="16" actId="20577"/>
          <ac:spMkLst>
            <pc:docMk/>
            <pc:sldMk cId="0" sldId="256"/>
            <ac:spMk id="104" creationId="{00000000-0000-0000-0000-000000000000}"/>
          </ac:spMkLst>
        </pc:spChg>
        <pc:spChg chg="mod">
          <ac:chgData name="Brtan, Ivica (DI FA HMI COS IT)" userId="868e453d-95b4-44c2-aba0-7a1c60073264" providerId="ADAL" clId="{6F52EAC0-7E54-40B5-8B61-BEA26C811419}" dt="2023-11-09T07:26:04.851" v="17" actId="20577"/>
          <ac:spMkLst>
            <pc:docMk/>
            <pc:sldMk cId="0" sldId="256"/>
            <ac:spMk id="115" creationId="{00000000-0000-0000-0000-000000000000}"/>
          </ac:spMkLst>
        </pc:spChg>
        <pc:picChg chg="add mod">
          <ac:chgData name="Brtan, Ivica (DI FA HMI COS IT)" userId="868e453d-95b4-44c2-aba0-7a1c60073264" providerId="ADAL" clId="{6F52EAC0-7E54-40B5-8B61-BEA26C811419}" dt="2023-11-10T14:44:40.117" v="795" actId="14100"/>
          <ac:picMkLst>
            <pc:docMk/>
            <pc:sldMk cId="0" sldId="256"/>
            <ac:picMk id="10" creationId="{103ECDCD-3B06-7114-AA35-F64311427F06}"/>
          </ac:picMkLst>
        </pc:picChg>
        <pc:cxnChg chg="mod">
          <ac:chgData name="Brtan, Ivica (DI FA HMI COS IT)" userId="868e453d-95b4-44c2-aba0-7a1c60073264" providerId="ADAL" clId="{6F52EAC0-7E54-40B5-8B61-BEA26C811419}" dt="2023-11-10T14:45:00.452" v="797" actId="14100"/>
          <ac:cxnSpMkLst>
            <pc:docMk/>
            <pc:sldMk cId="0" sldId="256"/>
            <ac:cxnSpMk id="5" creationId="{B7C20116-7A2B-08E7-F4DE-969042C61B93}"/>
          </ac:cxnSpMkLst>
        </pc:cxnChg>
      </pc:sldChg>
      <pc:sldChg chg="addSp delSp modSp new mod">
        <pc:chgData name="Brtan, Ivica (DI FA HMI COS IT)" userId="868e453d-95b4-44c2-aba0-7a1c60073264" providerId="ADAL" clId="{6F52EAC0-7E54-40B5-8B61-BEA26C811419}" dt="2023-11-10T14:43:35.568" v="792" actId="1038"/>
        <pc:sldMkLst>
          <pc:docMk/>
          <pc:sldMk cId="170935125" sldId="257"/>
        </pc:sldMkLst>
        <pc:spChg chg="add del mod">
          <ac:chgData name="Brtan, Ivica (DI FA HMI COS IT)" userId="868e453d-95b4-44c2-aba0-7a1c60073264" providerId="ADAL" clId="{6F52EAC0-7E54-40B5-8B61-BEA26C811419}" dt="2023-11-09T07:43:21.783" v="274" actId="478"/>
          <ac:spMkLst>
            <pc:docMk/>
            <pc:sldMk cId="170935125" sldId="257"/>
            <ac:spMk id="2" creationId="{053BD8A3-D2D0-AF6A-8374-428E809EBCD6}"/>
          </ac:spMkLst>
        </pc:spChg>
        <pc:spChg chg="add mod">
          <ac:chgData name="Brtan, Ivica (DI FA HMI COS IT)" userId="868e453d-95b4-44c2-aba0-7a1c60073264" providerId="ADAL" clId="{6F52EAC0-7E54-40B5-8B61-BEA26C811419}" dt="2023-11-10T14:38:47.493" v="754" actId="208"/>
          <ac:spMkLst>
            <pc:docMk/>
            <pc:sldMk cId="170935125" sldId="257"/>
            <ac:spMk id="2" creationId="{80A0E6BC-34AB-1BD4-99B0-6F35274E142D}"/>
          </ac:spMkLst>
        </pc:spChg>
        <pc:spChg chg="add mod">
          <ac:chgData name="Brtan, Ivica (DI FA HMI COS IT)" userId="868e453d-95b4-44c2-aba0-7a1c60073264" providerId="ADAL" clId="{6F52EAC0-7E54-40B5-8B61-BEA26C811419}" dt="2023-11-09T12:49:52.534" v="636" actId="1076"/>
          <ac:spMkLst>
            <pc:docMk/>
            <pc:sldMk cId="170935125" sldId="257"/>
            <ac:spMk id="3" creationId="{9A46B99F-88FE-9B68-75CD-CB5671140E5B}"/>
          </ac:spMkLst>
        </pc:spChg>
        <pc:spChg chg="add mod">
          <ac:chgData name="Brtan, Ivica (DI FA HMI COS IT)" userId="868e453d-95b4-44c2-aba0-7a1c60073264" providerId="ADAL" clId="{6F52EAC0-7E54-40B5-8B61-BEA26C811419}" dt="2023-11-10T14:41:29.535" v="760"/>
          <ac:spMkLst>
            <pc:docMk/>
            <pc:sldMk cId="170935125" sldId="257"/>
            <ac:spMk id="4" creationId="{EB4F5FB1-3193-C0CB-D048-F9E0427CD2DB}"/>
          </ac:spMkLst>
        </pc:spChg>
        <pc:spChg chg="add mod">
          <ac:chgData name="Brtan, Ivica (DI FA HMI COS IT)" userId="868e453d-95b4-44c2-aba0-7a1c60073264" providerId="ADAL" clId="{6F52EAC0-7E54-40B5-8B61-BEA26C811419}" dt="2023-11-10T14:43:35.568" v="792" actId="1038"/>
          <ac:spMkLst>
            <pc:docMk/>
            <pc:sldMk cId="170935125" sldId="257"/>
            <ac:spMk id="5" creationId="{69C643E1-EB2D-595C-9512-CF2F836E8443}"/>
          </ac:spMkLst>
        </pc:spChg>
        <pc:spChg chg="add mod">
          <ac:chgData name="Brtan, Ivica (DI FA HMI COS IT)" userId="868e453d-95b4-44c2-aba0-7a1c60073264" providerId="ADAL" clId="{6F52EAC0-7E54-40B5-8B61-BEA26C811419}" dt="2023-11-09T12:51:30.151" v="701" actId="1076"/>
          <ac:spMkLst>
            <pc:docMk/>
            <pc:sldMk cId="170935125" sldId="257"/>
            <ac:spMk id="7" creationId="{D84A0824-8B15-1045-8801-1BBF447083D3}"/>
          </ac:spMkLst>
        </pc:spChg>
        <pc:spChg chg="add mod">
          <ac:chgData name="Brtan, Ivica (DI FA HMI COS IT)" userId="868e453d-95b4-44c2-aba0-7a1c60073264" providerId="ADAL" clId="{6F52EAC0-7E54-40B5-8B61-BEA26C811419}" dt="2023-11-10T14:38:54.184" v="755" actId="17032"/>
          <ac:spMkLst>
            <pc:docMk/>
            <pc:sldMk cId="170935125" sldId="257"/>
            <ac:spMk id="11" creationId="{448AE375-F8E5-36C8-3CD6-05007C14D2EE}"/>
          </ac:spMkLst>
        </pc:spChg>
        <pc:spChg chg="add mod">
          <ac:chgData name="Brtan, Ivica (DI FA HMI COS IT)" userId="868e453d-95b4-44c2-aba0-7a1c60073264" providerId="ADAL" clId="{6F52EAC0-7E54-40B5-8B61-BEA26C811419}" dt="2023-11-10T14:38:54.184" v="755" actId="17032"/>
          <ac:spMkLst>
            <pc:docMk/>
            <pc:sldMk cId="170935125" sldId="257"/>
            <ac:spMk id="12" creationId="{6A835960-7343-209B-000B-6F6FA3FB104F}"/>
          </ac:spMkLst>
        </pc:spChg>
        <pc:spChg chg="add mod">
          <ac:chgData name="Brtan, Ivica (DI FA HMI COS IT)" userId="868e453d-95b4-44c2-aba0-7a1c60073264" providerId="ADAL" clId="{6F52EAC0-7E54-40B5-8B61-BEA26C811419}" dt="2023-11-09T12:51:18.826" v="699" actId="207"/>
          <ac:spMkLst>
            <pc:docMk/>
            <pc:sldMk cId="170935125" sldId="257"/>
            <ac:spMk id="16" creationId="{9BB95CBF-D3F1-EBC8-7BD5-5D4EF164BBE6}"/>
          </ac:spMkLst>
        </pc:spChg>
        <pc:graphicFrameChg chg="add mod modGraphic">
          <ac:chgData name="Brtan, Ivica (DI FA HMI COS IT)" userId="868e453d-95b4-44c2-aba0-7a1c60073264" providerId="ADAL" clId="{6F52EAC0-7E54-40B5-8B61-BEA26C811419}" dt="2023-11-09T12:50:00.619" v="658" actId="1038"/>
          <ac:graphicFrameMkLst>
            <pc:docMk/>
            <pc:sldMk cId="170935125" sldId="257"/>
            <ac:graphicFrameMk id="10" creationId="{329680CF-7754-8BDF-CEE4-F8C242B9D48F}"/>
          </ac:graphicFrameMkLst>
        </pc:graphicFrameChg>
        <pc:picChg chg="add mod">
          <ac:chgData name="Brtan, Ivica (DI FA HMI COS IT)" userId="868e453d-95b4-44c2-aba0-7a1c60073264" providerId="ADAL" clId="{6F52EAC0-7E54-40B5-8B61-BEA26C811419}" dt="2023-11-10T14:42:46.201" v="765" actId="14100"/>
          <ac:picMkLst>
            <pc:docMk/>
            <pc:sldMk cId="170935125" sldId="257"/>
            <ac:picMk id="8" creationId="{82A577CA-055A-067B-F149-914F8A433C21}"/>
          </ac:picMkLst>
        </pc:picChg>
        <pc:picChg chg="add mod">
          <ac:chgData name="Brtan, Ivica (DI FA HMI COS IT)" userId="868e453d-95b4-44c2-aba0-7a1c60073264" providerId="ADAL" clId="{6F52EAC0-7E54-40B5-8B61-BEA26C811419}" dt="2023-11-10T14:43:29.351" v="784" actId="1038"/>
          <ac:picMkLst>
            <pc:docMk/>
            <pc:sldMk cId="170935125" sldId="257"/>
            <ac:picMk id="13" creationId="{C549B624-BAE1-4849-C594-90139D19488C}"/>
          </ac:picMkLst>
        </pc:picChg>
        <pc:cxnChg chg="add del">
          <ac:chgData name="Brtan, Ivica (DI FA HMI COS IT)" userId="868e453d-95b4-44c2-aba0-7a1c60073264" providerId="ADAL" clId="{6F52EAC0-7E54-40B5-8B61-BEA26C811419}" dt="2023-11-09T12:49:28.822" v="633" actId="478"/>
          <ac:cxnSpMkLst>
            <pc:docMk/>
            <pc:sldMk cId="170935125" sldId="257"/>
            <ac:cxnSpMk id="14" creationId="{6AC1EEBD-E87E-6900-24D4-AC44D6D45416}"/>
          </ac:cxnSpMkLst>
        </pc:cxn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AAC96C-0C3E-4978-8598-D3985EBCE357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3FD4B4E-7C2A-4570-8C43-47191ED5D78B}">
      <dgm:prSet phldrT="[Text]"/>
      <dgm:spPr/>
      <dgm:t>
        <a:bodyPr/>
        <a:lstStyle/>
        <a:p>
          <a:r>
            <a:rPr lang="de-DE" dirty="0"/>
            <a:t>IKV ERL S SP1</a:t>
          </a:r>
        </a:p>
      </dgm:t>
    </dgm:pt>
    <dgm:pt modelId="{C4A14958-8BE0-4714-9DFF-1D8EFAC4873B}" type="parTrans" cxnId="{DA354530-086C-4569-9F47-382179ADB2BB}">
      <dgm:prSet/>
      <dgm:spPr/>
      <dgm:t>
        <a:bodyPr/>
        <a:lstStyle/>
        <a:p>
          <a:endParaRPr lang="de-DE"/>
        </a:p>
      </dgm:t>
    </dgm:pt>
    <dgm:pt modelId="{F6D48C90-56E4-4C50-AB1B-C3413DD73E96}" type="sibTrans" cxnId="{DA354530-086C-4569-9F47-382179ADB2BB}">
      <dgm:prSet/>
      <dgm:spPr/>
      <dgm:t>
        <a:bodyPr/>
        <a:lstStyle/>
        <a:p>
          <a:endParaRPr lang="de-DE"/>
        </a:p>
      </dgm:t>
    </dgm:pt>
    <dgm:pt modelId="{CE7CB322-C444-4097-A1BC-0B6209EABA44}">
      <dgm:prSet phldrT="[Text]"/>
      <dgm:spPr/>
      <dgm:t>
        <a:bodyPr/>
        <a:lstStyle/>
        <a:p>
          <a:r>
            <a:rPr lang="de-DE" dirty="0" err="1"/>
            <a:t>Email_Incident_Entry</a:t>
          </a:r>
          <a:endParaRPr lang="de-DE" dirty="0"/>
        </a:p>
      </dgm:t>
    </dgm:pt>
    <dgm:pt modelId="{D8ADC710-3FA8-4D3F-A852-A34A1C7DA82F}" type="parTrans" cxnId="{67973545-4D50-47BD-8435-8C2D75FECEDB}">
      <dgm:prSet/>
      <dgm:spPr/>
      <dgm:t>
        <a:bodyPr/>
        <a:lstStyle/>
        <a:p>
          <a:endParaRPr lang="de-DE"/>
        </a:p>
      </dgm:t>
    </dgm:pt>
    <dgm:pt modelId="{275E38FC-91D8-4D5F-857B-BA540138F069}" type="sibTrans" cxnId="{67973545-4D50-47BD-8435-8C2D75FECEDB}">
      <dgm:prSet/>
      <dgm:spPr/>
      <dgm:t>
        <a:bodyPr/>
        <a:lstStyle/>
        <a:p>
          <a:endParaRPr lang="de-DE"/>
        </a:p>
      </dgm:t>
    </dgm:pt>
    <dgm:pt modelId="{740B4850-B137-4352-82AD-B3190BD0B687}">
      <dgm:prSet phldrT="[Text]"/>
      <dgm:spPr/>
      <dgm:t>
        <a:bodyPr/>
        <a:lstStyle/>
        <a:p>
          <a:r>
            <a:rPr lang="de-DE" dirty="0"/>
            <a:t>IKV FTH BR (DI FA)</a:t>
          </a:r>
        </a:p>
      </dgm:t>
    </dgm:pt>
    <dgm:pt modelId="{5E19E722-C1AC-4D1A-81D2-E3862421944A}" type="parTrans" cxnId="{CFA023EE-2D38-4168-B1D6-FBD3BC5DDA3C}">
      <dgm:prSet/>
      <dgm:spPr/>
      <dgm:t>
        <a:bodyPr/>
        <a:lstStyle/>
        <a:p>
          <a:endParaRPr lang="de-DE"/>
        </a:p>
      </dgm:t>
    </dgm:pt>
    <dgm:pt modelId="{908464F7-A48F-41A5-9527-C56A480B86F8}" type="sibTrans" cxnId="{CFA023EE-2D38-4168-B1D6-FBD3BC5DDA3C}">
      <dgm:prSet/>
      <dgm:spPr/>
      <dgm:t>
        <a:bodyPr/>
        <a:lstStyle/>
        <a:p>
          <a:endParaRPr lang="de-DE"/>
        </a:p>
      </dgm:t>
    </dgm:pt>
    <dgm:pt modelId="{11AEF66D-79DD-4BC6-BC15-E38777A2BE44}">
      <dgm:prSet phldrT="[Text]"/>
      <dgm:spPr/>
      <dgm:t>
        <a:bodyPr/>
        <a:lstStyle/>
        <a:p>
          <a:r>
            <a:rPr lang="de-DE" dirty="0"/>
            <a:t>IKV AMB WVS50</a:t>
          </a:r>
        </a:p>
      </dgm:t>
    </dgm:pt>
    <dgm:pt modelId="{7302D653-182D-4751-8DFE-1ED06D1C3C4E}" type="parTrans" cxnId="{46D0D4AF-89E4-44AB-904B-F87A9430FA55}">
      <dgm:prSet/>
      <dgm:spPr/>
      <dgm:t>
        <a:bodyPr/>
        <a:lstStyle/>
        <a:p>
          <a:endParaRPr lang="de-DE"/>
        </a:p>
      </dgm:t>
    </dgm:pt>
    <dgm:pt modelId="{D3D2BB68-7345-442A-AF40-C6A8204B7005}" type="sibTrans" cxnId="{46D0D4AF-89E4-44AB-904B-F87A9430FA55}">
      <dgm:prSet/>
      <dgm:spPr/>
      <dgm:t>
        <a:bodyPr/>
        <a:lstStyle/>
        <a:p>
          <a:endParaRPr lang="de-DE"/>
        </a:p>
      </dgm:t>
    </dgm:pt>
    <dgm:pt modelId="{333BFEC7-2C8B-4E6B-BFD1-E46A3041ECAE}">
      <dgm:prSet phldrT="[Text]"/>
      <dgm:spPr/>
      <dgm:t>
        <a:bodyPr/>
        <a:lstStyle/>
        <a:p>
          <a:r>
            <a:rPr lang="de-DE" dirty="0"/>
            <a:t>IKV KHE R (DI FA)</a:t>
          </a:r>
        </a:p>
      </dgm:t>
    </dgm:pt>
    <dgm:pt modelId="{48E84BD2-2E61-48A4-8601-8E16CFF8CE21}" type="parTrans" cxnId="{44288BC1-7B4F-42EE-975C-4A0555DA3C49}">
      <dgm:prSet/>
      <dgm:spPr/>
      <dgm:t>
        <a:bodyPr/>
        <a:lstStyle/>
        <a:p>
          <a:endParaRPr lang="de-DE"/>
        </a:p>
      </dgm:t>
    </dgm:pt>
    <dgm:pt modelId="{EC0B6DF2-59B3-4D3A-8DBF-BA113BB4B107}" type="sibTrans" cxnId="{44288BC1-7B4F-42EE-975C-4A0555DA3C49}">
      <dgm:prSet/>
      <dgm:spPr/>
      <dgm:t>
        <a:bodyPr/>
        <a:lstStyle/>
        <a:p>
          <a:endParaRPr lang="de-DE"/>
        </a:p>
      </dgm:t>
    </dgm:pt>
    <dgm:pt modelId="{1D2F244A-121C-44F8-A7AE-13FA829C0A27}">
      <dgm:prSet phldrT="[Text]"/>
      <dgm:spPr/>
      <dgm:t>
        <a:bodyPr/>
        <a:lstStyle/>
        <a:p>
          <a:r>
            <a:rPr lang="de-DE" dirty="0"/>
            <a:t>IKV NBG M</a:t>
          </a:r>
        </a:p>
      </dgm:t>
    </dgm:pt>
    <dgm:pt modelId="{C0F3677E-B88E-498F-9E35-47A6CAAE0E8A}" type="parTrans" cxnId="{D049E12B-C77F-4090-8997-DFE6EDB2CD62}">
      <dgm:prSet/>
      <dgm:spPr/>
      <dgm:t>
        <a:bodyPr/>
        <a:lstStyle/>
        <a:p>
          <a:endParaRPr lang="de-DE"/>
        </a:p>
      </dgm:t>
    </dgm:pt>
    <dgm:pt modelId="{26FCD914-ACFB-4E0D-8C59-FEBCBE35E039}" type="sibTrans" cxnId="{D049E12B-C77F-4090-8997-DFE6EDB2CD62}">
      <dgm:prSet/>
      <dgm:spPr/>
      <dgm:t>
        <a:bodyPr/>
        <a:lstStyle/>
        <a:p>
          <a:endParaRPr lang="de-DE"/>
        </a:p>
      </dgm:t>
    </dgm:pt>
    <dgm:pt modelId="{A11838B5-7A93-4DE3-BB86-F30099C450EB}">
      <dgm:prSet/>
      <dgm:spPr/>
      <dgm:t>
        <a:bodyPr/>
        <a:lstStyle/>
        <a:p>
          <a:r>
            <a:rPr lang="de-DE"/>
            <a:t>Email_Service-Request_Entry</a:t>
          </a:r>
        </a:p>
      </dgm:t>
    </dgm:pt>
    <dgm:pt modelId="{0163EA62-0586-4517-B4EA-BCCE33A896C7}" type="parTrans" cxnId="{89CEEBB7-CB9F-47E4-B8E5-885299F1F5FA}">
      <dgm:prSet/>
      <dgm:spPr/>
      <dgm:t>
        <a:bodyPr/>
        <a:lstStyle/>
        <a:p>
          <a:endParaRPr lang="de-DE"/>
        </a:p>
      </dgm:t>
    </dgm:pt>
    <dgm:pt modelId="{B35B4338-0329-41FB-AF69-3D56682D1C3B}" type="sibTrans" cxnId="{89CEEBB7-CB9F-47E4-B8E5-885299F1F5FA}">
      <dgm:prSet/>
      <dgm:spPr/>
      <dgm:t>
        <a:bodyPr/>
        <a:lstStyle/>
        <a:p>
          <a:endParaRPr lang="de-DE"/>
        </a:p>
      </dgm:t>
    </dgm:pt>
    <dgm:pt modelId="{986267EC-9015-403E-8C81-9DA69EC39020}">
      <dgm:prSet phldrT="[Text]"/>
      <dgm:spPr/>
      <dgm:t>
        <a:bodyPr/>
        <a:lstStyle/>
        <a:p>
          <a:r>
            <a:rPr lang="de-DE" dirty="0"/>
            <a:t>TIMA IKV</a:t>
          </a:r>
        </a:p>
      </dgm:t>
    </dgm:pt>
    <dgm:pt modelId="{2D24ABF3-02B8-47F3-BC84-AB86F2E20A63}" type="sibTrans" cxnId="{866F491E-3652-4818-827F-08E058D6D924}">
      <dgm:prSet/>
      <dgm:spPr/>
      <dgm:t>
        <a:bodyPr/>
        <a:lstStyle/>
        <a:p>
          <a:endParaRPr lang="de-DE"/>
        </a:p>
      </dgm:t>
    </dgm:pt>
    <dgm:pt modelId="{5FF4AC49-12AF-42F9-993B-34EFBE76368E}" type="parTrans" cxnId="{866F491E-3652-4818-827F-08E058D6D924}">
      <dgm:prSet/>
      <dgm:spPr/>
      <dgm:t>
        <a:bodyPr/>
        <a:lstStyle/>
        <a:p>
          <a:endParaRPr lang="de-DE"/>
        </a:p>
      </dgm:t>
    </dgm:pt>
    <dgm:pt modelId="{A2ED0CAC-5A52-40B3-B742-43339F816D99}" type="pres">
      <dgm:prSet presAssocID="{07AAC96C-0C3E-4978-8598-D3985EBCE357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F6525C8-BE12-42D2-BDD2-7615D588AD7F}" type="pres">
      <dgm:prSet presAssocID="{986267EC-9015-403E-8C81-9DA69EC39020}" presName="root1" presStyleCnt="0"/>
      <dgm:spPr/>
    </dgm:pt>
    <dgm:pt modelId="{031E17A9-16F2-49F1-907B-F16600FE5841}" type="pres">
      <dgm:prSet presAssocID="{986267EC-9015-403E-8C81-9DA69EC39020}" presName="LevelOneTextNode" presStyleLbl="node0" presStyleIdx="0" presStyleCnt="1">
        <dgm:presLayoutVars>
          <dgm:chPref val="3"/>
        </dgm:presLayoutVars>
      </dgm:prSet>
      <dgm:spPr/>
    </dgm:pt>
    <dgm:pt modelId="{817D9E06-E6C4-40DE-9170-4D7D96C9A98B}" type="pres">
      <dgm:prSet presAssocID="{986267EC-9015-403E-8C81-9DA69EC39020}" presName="level2hierChild" presStyleCnt="0"/>
      <dgm:spPr/>
    </dgm:pt>
    <dgm:pt modelId="{362DFB89-7DD8-436B-81AE-B424E4D4A1D1}" type="pres">
      <dgm:prSet presAssocID="{C4A14958-8BE0-4714-9DFF-1D8EFAC4873B}" presName="conn2-1" presStyleLbl="parChTrans1D2" presStyleIdx="0" presStyleCnt="5"/>
      <dgm:spPr/>
    </dgm:pt>
    <dgm:pt modelId="{51631952-D47A-4331-A6F6-EEB41552F700}" type="pres">
      <dgm:prSet presAssocID="{C4A14958-8BE0-4714-9DFF-1D8EFAC4873B}" presName="connTx" presStyleLbl="parChTrans1D2" presStyleIdx="0" presStyleCnt="5"/>
      <dgm:spPr/>
    </dgm:pt>
    <dgm:pt modelId="{63BF53FC-0B62-4E8C-99D6-4583DA8722E1}" type="pres">
      <dgm:prSet presAssocID="{73FD4B4E-7C2A-4570-8C43-47191ED5D78B}" presName="root2" presStyleCnt="0"/>
      <dgm:spPr/>
    </dgm:pt>
    <dgm:pt modelId="{9C4F935E-288F-4F33-ACE1-9A2706A54112}" type="pres">
      <dgm:prSet presAssocID="{73FD4B4E-7C2A-4570-8C43-47191ED5D78B}" presName="LevelTwoTextNode" presStyleLbl="node2" presStyleIdx="0" presStyleCnt="5">
        <dgm:presLayoutVars>
          <dgm:chPref val="3"/>
        </dgm:presLayoutVars>
      </dgm:prSet>
      <dgm:spPr/>
    </dgm:pt>
    <dgm:pt modelId="{A35835E1-6760-4596-B98A-FA0714FBFC67}" type="pres">
      <dgm:prSet presAssocID="{73FD4B4E-7C2A-4570-8C43-47191ED5D78B}" presName="level3hierChild" presStyleCnt="0"/>
      <dgm:spPr/>
    </dgm:pt>
    <dgm:pt modelId="{67C18DA1-24F1-4F4A-A65E-AFEC686BF3DE}" type="pres">
      <dgm:prSet presAssocID="{D8ADC710-3FA8-4D3F-A852-A34A1C7DA82F}" presName="conn2-1" presStyleLbl="parChTrans1D3" presStyleIdx="0" presStyleCnt="2"/>
      <dgm:spPr/>
    </dgm:pt>
    <dgm:pt modelId="{93FC952F-EC34-42BB-8E3B-51695F3ED463}" type="pres">
      <dgm:prSet presAssocID="{D8ADC710-3FA8-4D3F-A852-A34A1C7DA82F}" presName="connTx" presStyleLbl="parChTrans1D3" presStyleIdx="0" presStyleCnt="2"/>
      <dgm:spPr/>
    </dgm:pt>
    <dgm:pt modelId="{E750C795-252E-454A-8C74-2BCDCED76EDB}" type="pres">
      <dgm:prSet presAssocID="{CE7CB322-C444-4097-A1BC-0B6209EABA44}" presName="root2" presStyleCnt="0"/>
      <dgm:spPr/>
    </dgm:pt>
    <dgm:pt modelId="{4BA59617-1B7D-46A1-A696-70BC46966D41}" type="pres">
      <dgm:prSet presAssocID="{CE7CB322-C444-4097-A1BC-0B6209EABA44}" presName="LevelTwoTextNode" presStyleLbl="node3" presStyleIdx="0" presStyleCnt="2">
        <dgm:presLayoutVars>
          <dgm:chPref val="3"/>
        </dgm:presLayoutVars>
      </dgm:prSet>
      <dgm:spPr/>
    </dgm:pt>
    <dgm:pt modelId="{6DAAE618-FA29-439C-8FC9-AB25C52D87A6}" type="pres">
      <dgm:prSet presAssocID="{CE7CB322-C444-4097-A1BC-0B6209EABA44}" presName="level3hierChild" presStyleCnt="0"/>
      <dgm:spPr/>
    </dgm:pt>
    <dgm:pt modelId="{675A7BFF-DB54-4822-829C-9EB16D1C4D08}" type="pres">
      <dgm:prSet presAssocID="{0163EA62-0586-4517-B4EA-BCCE33A896C7}" presName="conn2-1" presStyleLbl="parChTrans1D3" presStyleIdx="1" presStyleCnt="2"/>
      <dgm:spPr/>
    </dgm:pt>
    <dgm:pt modelId="{5C12060A-6C2E-4156-A087-D18A820768A1}" type="pres">
      <dgm:prSet presAssocID="{0163EA62-0586-4517-B4EA-BCCE33A896C7}" presName="connTx" presStyleLbl="parChTrans1D3" presStyleIdx="1" presStyleCnt="2"/>
      <dgm:spPr/>
    </dgm:pt>
    <dgm:pt modelId="{ADC5C430-2732-463A-83CD-2D59707CED1C}" type="pres">
      <dgm:prSet presAssocID="{A11838B5-7A93-4DE3-BB86-F30099C450EB}" presName="root2" presStyleCnt="0"/>
      <dgm:spPr/>
    </dgm:pt>
    <dgm:pt modelId="{0E8DB5A2-9649-44B1-9EA0-FE92F30474A3}" type="pres">
      <dgm:prSet presAssocID="{A11838B5-7A93-4DE3-BB86-F30099C450EB}" presName="LevelTwoTextNode" presStyleLbl="node3" presStyleIdx="1" presStyleCnt="2">
        <dgm:presLayoutVars>
          <dgm:chPref val="3"/>
        </dgm:presLayoutVars>
      </dgm:prSet>
      <dgm:spPr/>
    </dgm:pt>
    <dgm:pt modelId="{E2EFD122-8C2F-4C69-86D6-CA82FB361F3A}" type="pres">
      <dgm:prSet presAssocID="{A11838B5-7A93-4DE3-BB86-F30099C450EB}" presName="level3hierChild" presStyleCnt="0"/>
      <dgm:spPr/>
    </dgm:pt>
    <dgm:pt modelId="{D1060E9F-0462-4148-A9CB-E3A3F677268A}" type="pres">
      <dgm:prSet presAssocID="{5E19E722-C1AC-4D1A-81D2-E3862421944A}" presName="conn2-1" presStyleLbl="parChTrans1D2" presStyleIdx="1" presStyleCnt="5"/>
      <dgm:spPr/>
    </dgm:pt>
    <dgm:pt modelId="{9D1DBDF1-EA98-436D-AE6E-123B248F9B42}" type="pres">
      <dgm:prSet presAssocID="{5E19E722-C1AC-4D1A-81D2-E3862421944A}" presName="connTx" presStyleLbl="parChTrans1D2" presStyleIdx="1" presStyleCnt="5"/>
      <dgm:spPr/>
    </dgm:pt>
    <dgm:pt modelId="{3FB66F28-D585-4866-AF60-D944D9304718}" type="pres">
      <dgm:prSet presAssocID="{740B4850-B137-4352-82AD-B3190BD0B687}" presName="root2" presStyleCnt="0"/>
      <dgm:spPr/>
    </dgm:pt>
    <dgm:pt modelId="{5FC27F6F-E12A-4AA3-9C4D-A3F58702D07E}" type="pres">
      <dgm:prSet presAssocID="{740B4850-B137-4352-82AD-B3190BD0B687}" presName="LevelTwoTextNode" presStyleLbl="node2" presStyleIdx="1" presStyleCnt="5">
        <dgm:presLayoutVars>
          <dgm:chPref val="3"/>
        </dgm:presLayoutVars>
      </dgm:prSet>
      <dgm:spPr/>
    </dgm:pt>
    <dgm:pt modelId="{0851C808-41FA-464A-B49A-2CAE287D1DDA}" type="pres">
      <dgm:prSet presAssocID="{740B4850-B137-4352-82AD-B3190BD0B687}" presName="level3hierChild" presStyleCnt="0"/>
      <dgm:spPr/>
    </dgm:pt>
    <dgm:pt modelId="{118298D7-C1D3-4184-95E7-50C06CA18A62}" type="pres">
      <dgm:prSet presAssocID="{7302D653-182D-4751-8DFE-1ED06D1C3C4E}" presName="conn2-1" presStyleLbl="parChTrans1D2" presStyleIdx="2" presStyleCnt="5"/>
      <dgm:spPr/>
    </dgm:pt>
    <dgm:pt modelId="{D2B40326-AAF0-428C-8607-A0978014D2DC}" type="pres">
      <dgm:prSet presAssocID="{7302D653-182D-4751-8DFE-1ED06D1C3C4E}" presName="connTx" presStyleLbl="parChTrans1D2" presStyleIdx="2" presStyleCnt="5"/>
      <dgm:spPr/>
    </dgm:pt>
    <dgm:pt modelId="{1BCD50FF-520A-4F4C-802A-51B34F62D440}" type="pres">
      <dgm:prSet presAssocID="{11AEF66D-79DD-4BC6-BC15-E38777A2BE44}" presName="root2" presStyleCnt="0"/>
      <dgm:spPr/>
    </dgm:pt>
    <dgm:pt modelId="{EF1E99A7-ECD9-4C38-A49A-85347EF81D66}" type="pres">
      <dgm:prSet presAssocID="{11AEF66D-79DD-4BC6-BC15-E38777A2BE44}" presName="LevelTwoTextNode" presStyleLbl="node2" presStyleIdx="2" presStyleCnt="5">
        <dgm:presLayoutVars>
          <dgm:chPref val="3"/>
        </dgm:presLayoutVars>
      </dgm:prSet>
      <dgm:spPr/>
    </dgm:pt>
    <dgm:pt modelId="{ACB81905-3C13-40DC-AB32-380B8204E80B}" type="pres">
      <dgm:prSet presAssocID="{11AEF66D-79DD-4BC6-BC15-E38777A2BE44}" presName="level3hierChild" presStyleCnt="0"/>
      <dgm:spPr/>
    </dgm:pt>
    <dgm:pt modelId="{AEC7ADB3-B426-465C-9FDF-218A4952E61B}" type="pres">
      <dgm:prSet presAssocID="{48E84BD2-2E61-48A4-8601-8E16CFF8CE21}" presName="conn2-1" presStyleLbl="parChTrans1D2" presStyleIdx="3" presStyleCnt="5"/>
      <dgm:spPr/>
    </dgm:pt>
    <dgm:pt modelId="{0F253205-CC24-438D-ADED-2854FD3DDAAA}" type="pres">
      <dgm:prSet presAssocID="{48E84BD2-2E61-48A4-8601-8E16CFF8CE21}" presName="connTx" presStyleLbl="parChTrans1D2" presStyleIdx="3" presStyleCnt="5"/>
      <dgm:spPr/>
    </dgm:pt>
    <dgm:pt modelId="{AE050984-8EBD-4B8A-A672-F9A7120225E3}" type="pres">
      <dgm:prSet presAssocID="{333BFEC7-2C8B-4E6B-BFD1-E46A3041ECAE}" presName="root2" presStyleCnt="0"/>
      <dgm:spPr/>
    </dgm:pt>
    <dgm:pt modelId="{58A743F1-C1F6-4EA4-B8CE-4E40635F3AC2}" type="pres">
      <dgm:prSet presAssocID="{333BFEC7-2C8B-4E6B-BFD1-E46A3041ECAE}" presName="LevelTwoTextNode" presStyleLbl="node2" presStyleIdx="3" presStyleCnt="5">
        <dgm:presLayoutVars>
          <dgm:chPref val="3"/>
        </dgm:presLayoutVars>
      </dgm:prSet>
      <dgm:spPr/>
    </dgm:pt>
    <dgm:pt modelId="{40708D5B-66A7-4F27-A939-0BE2355B7630}" type="pres">
      <dgm:prSet presAssocID="{333BFEC7-2C8B-4E6B-BFD1-E46A3041ECAE}" presName="level3hierChild" presStyleCnt="0"/>
      <dgm:spPr/>
    </dgm:pt>
    <dgm:pt modelId="{88C068F8-8B8C-4AC4-8504-F10E8C3FB0BF}" type="pres">
      <dgm:prSet presAssocID="{C0F3677E-B88E-498F-9E35-47A6CAAE0E8A}" presName="conn2-1" presStyleLbl="parChTrans1D2" presStyleIdx="4" presStyleCnt="5"/>
      <dgm:spPr/>
    </dgm:pt>
    <dgm:pt modelId="{56028DDE-7979-4C1A-BAFF-0D637214A5B8}" type="pres">
      <dgm:prSet presAssocID="{C0F3677E-B88E-498F-9E35-47A6CAAE0E8A}" presName="connTx" presStyleLbl="parChTrans1D2" presStyleIdx="4" presStyleCnt="5"/>
      <dgm:spPr/>
    </dgm:pt>
    <dgm:pt modelId="{D69F31CD-3737-4720-9D37-8FA5430ED285}" type="pres">
      <dgm:prSet presAssocID="{1D2F244A-121C-44F8-A7AE-13FA829C0A27}" presName="root2" presStyleCnt="0"/>
      <dgm:spPr/>
    </dgm:pt>
    <dgm:pt modelId="{D354B8B5-6231-4336-A87C-EE7855A0FF45}" type="pres">
      <dgm:prSet presAssocID="{1D2F244A-121C-44F8-A7AE-13FA829C0A27}" presName="LevelTwoTextNode" presStyleLbl="node2" presStyleIdx="4" presStyleCnt="5">
        <dgm:presLayoutVars>
          <dgm:chPref val="3"/>
        </dgm:presLayoutVars>
      </dgm:prSet>
      <dgm:spPr/>
    </dgm:pt>
    <dgm:pt modelId="{ABBE0E46-FDFE-4638-9A70-E0A12F334050}" type="pres">
      <dgm:prSet presAssocID="{1D2F244A-121C-44F8-A7AE-13FA829C0A27}" presName="level3hierChild" presStyleCnt="0"/>
      <dgm:spPr/>
    </dgm:pt>
  </dgm:ptLst>
  <dgm:cxnLst>
    <dgm:cxn modelId="{9B438112-0A77-46F2-9843-CA650D413BCE}" type="presOf" srcId="{48E84BD2-2E61-48A4-8601-8E16CFF8CE21}" destId="{0F253205-CC24-438D-ADED-2854FD3DDAAA}" srcOrd="1" destOrd="0" presId="urn:microsoft.com/office/officeart/2005/8/layout/hierarchy2"/>
    <dgm:cxn modelId="{866F491E-3652-4818-827F-08E058D6D924}" srcId="{07AAC96C-0C3E-4978-8598-D3985EBCE357}" destId="{986267EC-9015-403E-8C81-9DA69EC39020}" srcOrd="0" destOrd="0" parTransId="{5FF4AC49-12AF-42F9-993B-34EFBE76368E}" sibTransId="{2D24ABF3-02B8-47F3-BC84-AB86F2E20A63}"/>
    <dgm:cxn modelId="{D049E12B-C77F-4090-8997-DFE6EDB2CD62}" srcId="{986267EC-9015-403E-8C81-9DA69EC39020}" destId="{1D2F244A-121C-44F8-A7AE-13FA829C0A27}" srcOrd="4" destOrd="0" parTransId="{C0F3677E-B88E-498F-9E35-47A6CAAE0E8A}" sibTransId="{26FCD914-ACFB-4E0D-8C59-FEBCBE35E039}"/>
    <dgm:cxn modelId="{60B34E2F-C50B-40D4-B9BD-24A8EB410799}" type="presOf" srcId="{333BFEC7-2C8B-4E6B-BFD1-E46A3041ECAE}" destId="{58A743F1-C1F6-4EA4-B8CE-4E40635F3AC2}" srcOrd="0" destOrd="0" presId="urn:microsoft.com/office/officeart/2005/8/layout/hierarchy2"/>
    <dgm:cxn modelId="{DA354530-086C-4569-9F47-382179ADB2BB}" srcId="{986267EC-9015-403E-8C81-9DA69EC39020}" destId="{73FD4B4E-7C2A-4570-8C43-47191ED5D78B}" srcOrd="0" destOrd="0" parTransId="{C4A14958-8BE0-4714-9DFF-1D8EFAC4873B}" sibTransId="{F6D48C90-56E4-4C50-AB1B-C3413DD73E96}"/>
    <dgm:cxn modelId="{BC8EA435-F83E-4060-A617-847CD37CD5B3}" type="presOf" srcId="{07AAC96C-0C3E-4978-8598-D3985EBCE357}" destId="{A2ED0CAC-5A52-40B3-B742-43339F816D99}" srcOrd="0" destOrd="0" presId="urn:microsoft.com/office/officeart/2005/8/layout/hierarchy2"/>
    <dgm:cxn modelId="{4C1D6037-1FC3-4117-B4A5-5D09A32C8C86}" type="presOf" srcId="{7302D653-182D-4751-8DFE-1ED06D1C3C4E}" destId="{118298D7-C1D3-4184-95E7-50C06CA18A62}" srcOrd="0" destOrd="0" presId="urn:microsoft.com/office/officeart/2005/8/layout/hierarchy2"/>
    <dgm:cxn modelId="{E151FF60-C505-4C5A-99B8-5B648B28CB47}" type="presOf" srcId="{1D2F244A-121C-44F8-A7AE-13FA829C0A27}" destId="{D354B8B5-6231-4336-A87C-EE7855A0FF45}" srcOrd="0" destOrd="0" presId="urn:microsoft.com/office/officeart/2005/8/layout/hierarchy2"/>
    <dgm:cxn modelId="{67973545-4D50-47BD-8435-8C2D75FECEDB}" srcId="{73FD4B4E-7C2A-4570-8C43-47191ED5D78B}" destId="{CE7CB322-C444-4097-A1BC-0B6209EABA44}" srcOrd="0" destOrd="0" parTransId="{D8ADC710-3FA8-4D3F-A852-A34A1C7DA82F}" sibTransId="{275E38FC-91D8-4D5F-857B-BA540138F069}"/>
    <dgm:cxn modelId="{57958045-D197-48C2-80CF-ED4CC5213912}" type="presOf" srcId="{C4A14958-8BE0-4714-9DFF-1D8EFAC4873B}" destId="{362DFB89-7DD8-436B-81AE-B424E4D4A1D1}" srcOrd="0" destOrd="0" presId="urn:microsoft.com/office/officeart/2005/8/layout/hierarchy2"/>
    <dgm:cxn modelId="{0388C87A-43A8-40BB-80C7-C3D84FE4EE63}" type="presOf" srcId="{740B4850-B137-4352-82AD-B3190BD0B687}" destId="{5FC27F6F-E12A-4AA3-9C4D-A3F58702D07E}" srcOrd="0" destOrd="0" presId="urn:microsoft.com/office/officeart/2005/8/layout/hierarchy2"/>
    <dgm:cxn modelId="{A63BFB89-2148-40CE-8FE5-60B31F7833DA}" type="presOf" srcId="{986267EC-9015-403E-8C81-9DA69EC39020}" destId="{031E17A9-16F2-49F1-907B-F16600FE5841}" srcOrd="0" destOrd="0" presId="urn:microsoft.com/office/officeart/2005/8/layout/hierarchy2"/>
    <dgm:cxn modelId="{330E179A-5AAE-4E18-8B94-0A57085D25D3}" type="presOf" srcId="{73FD4B4E-7C2A-4570-8C43-47191ED5D78B}" destId="{9C4F935E-288F-4F33-ACE1-9A2706A54112}" srcOrd="0" destOrd="0" presId="urn:microsoft.com/office/officeart/2005/8/layout/hierarchy2"/>
    <dgm:cxn modelId="{E1BA399C-D8D3-409F-9530-8B035226517F}" type="presOf" srcId="{5E19E722-C1AC-4D1A-81D2-E3862421944A}" destId="{9D1DBDF1-EA98-436D-AE6E-123B248F9B42}" srcOrd="1" destOrd="0" presId="urn:microsoft.com/office/officeart/2005/8/layout/hierarchy2"/>
    <dgm:cxn modelId="{9FEA909C-37C9-46FF-9FF4-6BBE9D12C3B3}" type="presOf" srcId="{5E19E722-C1AC-4D1A-81D2-E3862421944A}" destId="{D1060E9F-0462-4148-A9CB-E3A3F677268A}" srcOrd="0" destOrd="0" presId="urn:microsoft.com/office/officeart/2005/8/layout/hierarchy2"/>
    <dgm:cxn modelId="{771E4CA8-2871-4260-856F-45BC076963A0}" type="presOf" srcId="{C4A14958-8BE0-4714-9DFF-1D8EFAC4873B}" destId="{51631952-D47A-4331-A6F6-EEB41552F700}" srcOrd="1" destOrd="0" presId="urn:microsoft.com/office/officeart/2005/8/layout/hierarchy2"/>
    <dgm:cxn modelId="{CC8FA7A9-B4B9-4301-88E2-9E7825A5EE9A}" type="presOf" srcId="{D8ADC710-3FA8-4D3F-A852-A34A1C7DA82F}" destId="{67C18DA1-24F1-4F4A-A65E-AFEC686BF3DE}" srcOrd="0" destOrd="0" presId="urn:microsoft.com/office/officeart/2005/8/layout/hierarchy2"/>
    <dgm:cxn modelId="{46D0D4AF-89E4-44AB-904B-F87A9430FA55}" srcId="{986267EC-9015-403E-8C81-9DA69EC39020}" destId="{11AEF66D-79DD-4BC6-BC15-E38777A2BE44}" srcOrd="2" destOrd="0" parTransId="{7302D653-182D-4751-8DFE-1ED06D1C3C4E}" sibTransId="{D3D2BB68-7345-442A-AF40-C6A8204B7005}"/>
    <dgm:cxn modelId="{295084B0-A1DC-41C8-9296-62BC51A156AA}" type="presOf" srcId="{C0F3677E-B88E-498F-9E35-47A6CAAE0E8A}" destId="{56028DDE-7979-4C1A-BAFF-0D637214A5B8}" srcOrd="1" destOrd="0" presId="urn:microsoft.com/office/officeart/2005/8/layout/hierarchy2"/>
    <dgm:cxn modelId="{89CEEBB7-CB9F-47E4-B8E5-885299F1F5FA}" srcId="{73FD4B4E-7C2A-4570-8C43-47191ED5D78B}" destId="{A11838B5-7A93-4DE3-BB86-F30099C450EB}" srcOrd="1" destOrd="0" parTransId="{0163EA62-0586-4517-B4EA-BCCE33A896C7}" sibTransId="{B35B4338-0329-41FB-AF69-3D56682D1C3B}"/>
    <dgm:cxn modelId="{1966ECB8-2303-4E8A-BBC0-BBECCB915EB1}" type="presOf" srcId="{0163EA62-0586-4517-B4EA-BCCE33A896C7}" destId="{675A7BFF-DB54-4822-829C-9EB16D1C4D08}" srcOrd="0" destOrd="0" presId="urn:microsoft.com/office/officeart/2005/8/layout/hierarchy2"/>
    <dgm:cxn modelId="{3CAAF2BC-619D-4034-AB13-01045092983F}" type="presOf" srcId="{D8ADC710-3FA8-4D3F-A852-A34A1C7DA82F}" destId="{93FC952F-EC34-42BB-8E3B-51695F3ED463}" srcOrd="1" destOrd="0" presId="urn:microsoft.com/office/officeart/2005/8/layout/hierarchy2"/>
    <dgm:cxn modelId="{44288BC1-7B4F-42EE-975C-4A0555DA3C49}" srcId="{986267EC-9015-403E-8C81-9DA69EC39020}" destId="{333BFEC7-2C8B-4E6B-BFD1-E46A3041ECAE}" srcOrd="3" destOrd="0" parTransId="{48E84BD2-2E61-48A4-8601-8E16CFF8CE21}" sibTransId="{EC0B6DF2-59B3-4D3A-8DBF-BA113BB4B107}"/>
    <dgm:cxn modelId="{740720C4-00FC-4E9B-A674-7C3F14EB7C75}" type="presOf" srcId="{0163EA62-0586-4517-B4EA-BCCE33A896C7}" destId="{5C12060A-6C2E-4156-A087-D18A820768A1}" srcOrd="1" destOrd="0" presId="urn:microsoft.com/office/officeart/2005/8/layout/hierarchy2"/>
    <dgm:cxn modelId="{06BE22C9-D71A-4DA3-A80B-7DBC2897EB61}" type="presOf" srcId="{A11838B5-7A93-4DE3-BB86-F30099C450EB}" destId="{0E8DB5A2-9649-44B1-9EA0-FE92F30474A3}" srcOrd="0" destOrd="0" presId="urn:microsoft.com/office/officeart/2005/8/layout/hierarchy2"/>
    <dgm:cxn modelId="{02CB60DC-4A31-471C-83C0-48B87F35E56E}" type="presOf" srcId="{7302D653-182D-4751-8DFE-1ED06D1C3C4E}" destId="{D2B40326-AAF0-428C-8607-A0978014D2DC}" srcOrd="1" destOrd="0" presId="urn:microsoft.com/office/officeart/2005/8/layout/hierarchy2"/>
    <dgm:cxn modelId="{3978EBDD-46DB-4493-B266-6403D1C5B2A8}" type="presOf" srcId="{CE7CB322-C444-4097-A1BC-0B6209EABA44}" destId="{4BA59617-1B7D-46A1-A696-70BC46966D41}" srcOrd="0" destOrd="0" presId="urn:microsoft.com/office/officeart/2005/8/layout/hierarchy2"/>
    <dgm:cxn modelId="{D1673FE9-82C4-4AE3-9D50-5A6C92DD3458}" type="presOf" srcId="{11AEF66D-79DD-4BC6-BC15-E38777A2BE44}" destId="{EF1E99A7-ECD9-4C38-A49A-85347EF81D66}" srcOrd="0" destOrd="0" presId="urn:microsoft.com/office/officeart/2005/8/layout/hierarchy2"/>
    <dgm:cxn modelId="{CFA023EE-2D38-4168-B1D6-FBD3BC5DDA3C}" srcId="{986267EC-9015-403E-8C81-9DA69EC39020}" destId="{740B4850-B137-4352-82AD-B3190BD0B687}" srcOrd="1" destOrd="0" parTransId="{5E19E722-C1AC-4D1A-81D2-E3862421944A}" sibTransId="{908464F7-A48F-41A5-9527-C56A480B86F8}"/>
    <dgm:cxn modelId="{ABC6C4F9-62A9-4133-90CD-02BA8CF74E4E}" type="presOf" srcId="{C0F3677E-B88E-498F-9E35-47A6CAAE0E8A}" destId="{88C068F8-8B8C-4AC4-8504-F10E8C3FB0BF}" srcOrd="0" destOrd="0" presId="urn:microsoft.com/office/officeart/2005/8/layout/hierarchy2"/>
    <dgm:cxn modelId="{104D36FF-8E60-4957-BA24-95BA3D8271D2}" type="presOf" srcId="{48E84BD2-2E61-48A4-8601-8E16CFF8CE21}" destId="{AEC7ADB3-B426-465C-9FDF-218A4952E61B}" srcOrd="0" destOrd="0" presId="urn:microsoft.com/office/officeart/2005/8/layout/hierarchy2"/>
    <dgm:cxn modelId="{96926D70-74C0-48AE-AFA3-440ABE09AAC1}" type="presParOf" srcId="{A2ED0CAC-5A52-40B3-B742-43339F816D99}" destId="{BF6525C8-BE12-42D2-BDD2-7615D588AD7F}" srcOrd="0" destOrd="0" presId="urn:microsoft.com/office/officeart/2005/8/layout/hierarchy2"/>
    <dgm:cxn modelId="{9788ACF7-1E7E-46EA-AFE2-ED95920AE871}" type="presParOf" srcId="{BF6525C8-BE12-42D2-BDD2-7615D588AD7F}" destId="{031E17A9-16F2-49F1-907B-F16600FE5841}" srcOrd="0" destOrd="0" presId="urn:microsoft.com/office/officeart/2005/8/layout/hierarchy2"/>
    <dgm:cxn modelId="{4BB21DA0-DC22-457B-84D9-A6A012D95AE9}" type="presParOf" srcId="{BF6525C8-BE12-42D2-BDD2-7615D588AD7F}" destId="{817D9E06-E6C4-40DE-9170-4D7D96C9A98B}" srcOrd="1" destOrd="0" presId="urn:microsoft.com/office/officeart/2005/8/layout/hierarchy2"/>
    <dgm:cxn modelId="{A4D202D7-092D-43E2-942E-36FD9BFAB689}" type="presParOf" srcId="{817D9E06-E6C4-40DE-9170-4D7D96C9A98B}" destId="{362DFB89-7DD8-436B-81AE-B424E4D4A1D1}" srcOrd="0" destOrd="0" presId="urn:microsoft.com/office/officeart/2005/8/layout/hierarchy2"/>
    <dgm:cxn modelId="{459316FB-FC1E-4D20-B4FE-77C869F45C61}" type="presParOf" srcId="{362DFB89-7DD8-436B-81AE-B424E4D4A1D1}" destId="{51631952-D47A-4331-A6F6-EEB41552F700}" srcOrd="0" destOrd="0" presId="urn:microsoft.com/office/officeart/2005/8/layout/hierarchy2"/>
    <dgm:cxn modelId="{E552DEFF-4F96-4F2C-85BC-52ADB520218D}" type="presParOf" srcId="{817D9E06-E6C4-40DE-9170-4D7D96C9A98B}" destId="{63BF53FC-0B62-4E8C-99D6-4583DA8722E1}" srcOrd="1" destOrd="0" presId="urn:microsoft.com/office/officeart/2005/8/layout/hierarchy2"/>
    <dgm:cxn modelId="{E806F06C-7D87-4CCB-9DF7-A37CE65797AB}" type="presParOf" srcId="{63BF53FC-0B62-4E8C-99D6-4583DA8722E1}" destId="{9C4F935E-288F-4F33-ACE1-9A2706A54112}" srcOrd="0" destOrd="0" presId="urn:microsoft.com/office/officeart/2005/8/layout/hierarchy2"/>
    <dgm:cxn modelId="{EF867B0A-A2A0-4918-AC6E-804F4696254C}" type="presParOf" srcId="{63BF53FC-0B62-4E8C-99D6-4583DA8722E1}" destId="{A35835E1-6760-4596-B98A-FA0714FBFC67}" srcOrd="1" destOrd="0" presId="urn:microsoft.com/office/officeart/2005/8/layout/hierarchy2"/>
    <dgm:cxn modelId="{999E0B35-67AD-47B8-AE3F-664F62066D00}" type="presParOf" srcId="{A35835E1-6760-4596-B98A-FA0714FBFC67}" destId="{67C18DA1-24F1-4F4A-A65E-AFEC686BF3DE}" srcOrd="0" destOrd="0" presId="urn:microsoft.com/office/officeart/2005/8/layout/hierarchy2"/>
    <dgm:cxn modelId="{D3AE4413-C3E1-4E98-B862-155F1AE28302}" type="presParOf" srcId="{67C18DA1-24F1-4F4A-A65E-AFEC686BF3DE}" destId="{93FC952F-EC34-42BB-8E3B-51695F3ED463}" srcOrd="0" destOrd="0" presId="urn:microsoft.com/office/officeart/2005/8/layout/hierarchy2"/>
    <dgm:cxn modelId="{E47E8723-1B86-49B9-B903-6C89CC47EE3C}" type="presParOf" srcId="{A35835E1-6760-4596-B98A-FA0714FBFC67}" destId="{E750C795-252E-454A-8C74-2BCDCED76EDB}" srcOrd="1" destOrd="0" presId="urn:microsoft.com/office/officeart/2005/8/layout/hierarchy2"/>
    <dgm:cxn modelId="{0AACC48D-FFE5-4901-A023-6413961A1C9E}" type="presParOf" srcId="{E750C795-252E-454A-8C74-2BCDCED76EDB}" destId="{4BA59617-1B7D-46A1-A696-70BC46966D41}" srcOrd="0" destOrd="0" presId="urn:microsoft.com/office/officeart/2005/8/layout/hierarchy2"/>
    <dgm:cxn modelId="{76EC3256-E941-4483-8A32-1525120BF16E}" type="presParOf" srcId="{E750C795-252E-454A-8C74-2BCDCED76EDB}" destId="{6DAAE618-FA29-439C-8FC9-AB25C52D87A6}" srcOrd="1" destOrd="0" presId="urn:microsoft.com/office/officeart/2005/8/layout/hierarchy2"/>
    <dgm:cxn modelId="{A2399388-8B07-4EC9-BAEF-E1AA42691686}" type="presParOf" srcId="{A35835E1-6760-4596-B98A-FA0714FBFC67}" destId="{675A7BFF-DB54-4822-829C-9EB16D1C4D08}" srcOrd="2" destOrd="0" presId="urn:microsoft.com/office/officeart/2005/8/layout/hierarchy2"/>
    <dgm:cxn modelId="{314E0B0F-5B7E-4356-8D59-8BC366B59F10}" type="presParOf" srcId="{675A7BFF-DB54-4822-829C-9EB16D1C4D08}" destId="{5C12060A-6C2E-4156-A087-D18A820768A1}" srcOrd="0" destOrd="0" presId="urn:microsoft.com/office/officeart/2005/8/layout/hierarchy2"/>
    <dgm:cxn modelId="{3B0815A3-0F91-4D98-85E2-22208B8C590F}" type="presParOf" srcId="{A35835E1-6760-4596-B98A-FA0714FBFC67}" destId="{ADC5C430-2732-463A-83CD-2D59707CED1C}" srcOrd="3" destOrd="0" presId="urn:microsoft.com/office/officeart/2005/8/layout/hierarchy2"/>
    <dgm:cxn modelId="{085DB03B-F475-4E2C-AB01-3EE47DA028F4}" type="presParOf" srcId="{ADC5C430-2732-463A-83CD-2D59707CED1C}" destId="{0E8DB5A2-9649-44B1-9EA0-FE92F30474A3}" srcOrd="0" destOrd="0" presId="urn:microsoft.com/office/officeart/2005/8/layout/hierarchy2"/>
    <dgm:cxn modelId="{D431285C-B0B3-4F59-8E4B-31C123F2545B}" type="presParOf" srcId="{ADC5C430-2732-463A-83CD-2D59707CED1C}" destId="{E2EFD122-8C2F-4C69-86D6-CA82FB361F3A}" srcOrd="1" destOrd="0" presId="urn:microsoft.com/office/officeart/2005/8/layout/hierarchy2"/>
    <dgm:cxn modelId="{A4074F2E-55E4-434C-B6E2-3C371C340795}" type="presParOf" srcId="{817D9E06-E6C4-40DE-9170-4D7D96C9A98B}" destId="{D1060E9F-0462-4148-A9CB-E3A3F677268A}" srcOrd="2" destOrd="0" presId="urn:microsoft.com/office/officeart/2005/8/layout/hierarchy2"/>
    <dgm:cxn modelId="{EAB43594-654A-4468-A10B-1959D38A1356}" type="presParOf" srcId="{D1060E9F-0462-4148-A9CB-E3A3F677268A}" destId="{9D1DBDF1-EA98-436D-AE6E-123B248F9B42}" srcOrd="0" destOrd="0" presId="urn:microsoft.com/office/officeart/2005/8/layout/hierarchy2"/>
    <dgm:cxn modelId="{BBC1B94A-A48F-415D-A271-B8ADDC220D1B}" type="presParOf" srcId="{817D9E06-E6C4-40DE-9170-4D7D96C9A98B}" destId="{3FB66F28-D585-4866-AF60-D944D9304718}" srcOrd="3" destOrd="0" presId="urn:microsoft.com/office/officeart/2005/8/layout/hierarchy2"/>
    <dgm:cxn modelId="{BB3F0113-F14F-47CA-A223-8EC09AF66C25}" type="presParOf" srcId="{3FB66F28-D585-4866-AF60-D944D9304718}" destId="{5FC27F6F-E12A-4AA3-9C4D-A3F58702D07E}" srcOrd="0" destOrd="0" presId="urn:microsoft.com/office/officeart/2005/8/layout/hierarchy2"/>
    <dgm:cxn modelId="{F1D7FEE4-C5DA-45EF-BD7A-8BA0CBED92B8}" type="presParOf" srcId="{3FB66F28-D585-4866-AF60-D944D9304718}" destId="{0851C808-41FA-464A-B49A-2CAE287D1DDA}" srcOrd="1" destOrd="0" presId="urn:microsoft.com/office/officeart/2005/8/layout/hierarchy2"/>
    <dgm:cxn modelId="{92EB5EDF-47D7-46ED-9EC0-C7D5462FEF6D}" type="presParOf" srcId="{817D9E06-E6C4-40DE-9170-4D7D96C9A98B}" destId="{118298D7-C1D3-4184-95E7-50C06CA18A62}" srcOrd="4" destOrd="0" presId="urn:microsoft.com/office/officeart/2005/8/layout/hierarchy2"/>
    <dgm:cxn modelId="{7094B25F-3380-4DF0-8189-730C1276F4D7}" type="presParOf" srcId="{118298D7-C1D3-4184-95E7-50C06CA18A62}" destId="{D2B40326-AAF0-428C-8607-A0978014D2DC}" srcOrd="0" destOrd="0" presId="urn:microsoft.com/office/officeart/2005/8/layout/hierarchy2"/>
    <dgm:cxn modelId="{5AA48D64-5CAF-4E26-BF97-5CC7DB9C2299}" type="presParOf" srcId="{817D9E06-E6C4-40DE-9170-4D7D96C9A98B}" destId="{1BCD50FF-520A-4F4C-802A-51B34F62D440}" srcOrd="5" destOrd="0" presId="urn:microsoft.com/office/officeart/2005/8/layout/hierarchy2"/>
    <dgm:cxn modelId="{12586422-734C-4DFB-8067-3F715F243251}" type="presParOf" srcId="{1BCD50FF-520A-4F4C-802A-51B34F62D440}" destId="{EF1E99A7-ECD9-4C38-A49A-85347EF81D66}" srcOrd="0" destOrd="0" presId="urn:microsoft.com/office/officeart/2005/8/layout/hierarchy2"/>
    <dgm:cxn modelId="{4A960955-ABD3-4C85-B86B-2F6750C9ACEB}" type="presParOf" srcId="{1BCD50FF-520A-4F4C-802A-51B34F62D440}" destId="{ACB81905-3C13-40DC-AB32-380B8204E80B}" srcOrd="1" destOrd="0" presId="urn:microsoft.com/office/officeart/2005/8/layout/hierarchy2"/>
    <dgm:cxn modelId="{A2210BD6-BBA6-4AE9-8DA1-95CEEAFCA133}" type="presParOf" srcId="{817D9E06-E6C4-40DE-9170-4D7D96C9A98B}" destId="{AEC7ADB3-B426-465C-9FDF-218A4952E61B}" srcOrd="6" destOrd="0" presId="urn:microsoft.com/office/officeart/2005/8/layout/hierarchy2"/>
    <dgm:cxn modelId="{DFD9290D-6008-43B7-8D0E-F390EF965011}" type="presParOf" srcId="{AEC7ADB3-B426-465C-9FDF-218A4952E61B}" destId="{0F253205-CC24-438D-ADED-2854FD3DDAAA}" srcOrd="0" destOrd="0" presId="urn:microsoft.com/office/officeart/2005/8/layout/hierarchy2"/>
    <dgm:cxn modelId="{19B4F51C-6B7F-44DC-ADD4-427D9EAA144B}" type="presParOf" srcId="{817D9E06-E6C4-40DE-9170-4D7D96C9A98B}" destId="{AE050984-8EBD-4B8A-A672-F9A7120225E3}" srcOrd="7" destOrd="0" presId="urn:microsoft.com/office/officeart/2005/8/layout/hierarchy2"/>
    <dgm:cxn modelId="{16D61C33-25A1-48AD-A52E-9DA02B6701E9}" type="presParOf" srcId="{AE050984-8EBD-4B8A-A672-F9A7120225E3}" destId="{58A743F1-C1F6-4EA4-B8CE-4E40635F3AC2}" srcOrd="0" destOrd="0" presId="urn:microsoft.com/office/officeart/2005/8/layout/hierarchy2"/>
    <dgm:cxn modelId="{F4B177D1-37CC-41CE-B240-AB73E8BA4292}" type="presParOf" srcId="{AE050984-8EBD-4B8A-A672-F9A7120225E3}" destId="{40708D5B-66A7-4F27-A939-0BE2355B7630}" srcOrd="1" destOrd="0" presId="urn:microsoft.com/office/officeart/2005/8/layout/hierarchy2"/>
    <dgm:cxn modelId="{85588E2F-4172-449F-8199-4FE6D386453D}" type="presParOf" srcId="{817D9E06-E6C4-40DE-9170-4D7D96C9A98B}" destId="{88C068F8-8B8C-4AC4-8504-F10E8C3FB0BF}" srcOrd="8" destOrd="0" presId="urn:microsoft.com/office/officeart/2005/8/layout/hierarchy2"/>
    <dgm:cxn modelId="{DE64E77B-C06E-4808-ABE1-51DE260D77A9}" type="presParOf" srcId="{88C068F8-8B8C-4AC4-8504-F10E8C3FB0BF}" destId="{56028DDE-7979-4C1A-BAFF-0D637214A5B8}" srcOrd="0" destOrd="0" presId="urn:microsoft.com/office/officeart/2005/8/layout/hierarchy2"/>
    <dgm:cxn modelId="{1EBE2727-C6F0-4DA8-88A0-DE2C4470D2F2}" type="presParOf" srcId="{817D9E06-E6C4-40DE-9170-4D7D96C9A98B}" destId="{D69F31CD-3737-4720-9D37-8FA5430ED285}" srcOrd="9" destOrd="0" presId="urn:microsoft.com/office/officeart/2005/8/layout/hierarchy2"/>
    <dgm:cxn modelId="{44FAF25A-ABAC-4756-94D5-65AADCC04C0A}" type="presParOf" srcId="{D69F31CD-3737-4720-9D37-8FA5430ED285}" destId="{D354B8B5-6231-4336-A87C-EE7855A0FF45}" srcOrd="0" destOrd="0" presId="urn:microsoft.com/office/officeart/2005/8/layout/hierarchy2"/>
    <dgm:cxn modelId="{A8BC9966-873F-46A6-803C-5E8DC79393BE}" type="presParOf" srcId="{D69F31CD-3737-4720-9D37-8FA5430ED285}" destId="{ABBE0E46-FDFE-4638-9A70-E0A12F334050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1E17A9-16F2-49F1-907B-F16600FE5841}">
      <dsp:nvSpPr>
        <dsp:cNvPr id="0" name=""/>
        <dsp:cNvSpPr/>
      </dsp:nvSpPr>
      <dsp:spPr>
        <a:xfrm>
          <a:off x="475522" y="2968370"/>
          <a:ext cx="2063884" cy="10319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TIMA IKV</a:t>
          </a:r>
        </a:p>
      </dsp:txBody>
      <dsp:txXfrm>
        <a:off x="505747" y="2998595"/>
        <a:ext cx="2003434" cy="971492"/>
      </dsp:txXfrm>
    </dsp:sp>
    <dsp:sp modelId="{362DFB89-7DD8-436B-81AE-B424E4D4A1D1}">
      <dsp:nvSpPr>
        <dsp:cNvPr id="0" name=""/>
        <dsp:cNvSpPr/>
      </dsp:nvSpPr>
      <dsp:spPr>
        <a:xfrm rot="17350740">
          <a:off x="1695712" y="2283040"/>
          <a:ext cx="2512943" cy="29135"/>
        </a:xfrm>
        <a:custGeom>
          <a:avLst/>
          <a:gdLst/>
          <a:ahLst/>
          <a:cxnLst/>
          <a:rect l="0" t="0" r="0" b="0"/>
          <a:pathLst>
            <a:path>
              <a:moveTo>
                <a:pt x="0" y="14567"/>
              </a:moveTo>
              <a:lnTo>
                <a:pt x="2512943" y="1456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900" kern="1200"/>
        </a:p>
      </dsp:txBody>
      <dsp:txXfrm>
        <a:off x="2889360" y="2234784"/>
        <a:ext cx="125647" cy="125647"/>
      </dsp:txXfrm>
    </dsp:sp>
    <dsp:sp modelId="{9C4F935E-288F-4F33-ACE1-9A2706A54112}">
      <dsp:nvSpPr>
        <dsp:cNvPr id="0" name=""/>
        <dsp:cNvSpPr/>
      </dsp:nvSpPr>
      <dsp:spPr>
        <a:xfrm>
          <a:off x="3364960" y="594903"/>
          <a:ext cx="2063884" cy="10319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IKV ERL S SP1</a:t>
          </a:r>
        </a:p>
      </dsp:txBody>
      <dsp:txXfrm>
        <a:off x="3395185" y="625128"/>
        <a:ext cx="2003434" cy="971492"/>
      </dsp:txXfrm>
    </dsp:sp>
    <dsp:sp modelId="{67C18DA1-24F1-4F4A-A65E-AFEC686BF3DE}">
      <dsp:nvSpPr>
        <dsp:cNvPr id="0" name=""/>
        <dsp:cNvSpPr/>
      </dsp:nvSpPr>
      <dsp:spPr>
        <a:xfrm rot="19457599">
          <a:off x="5333285" y="799623"/>
          <a:ext cx="1016672" cy="29135"/>
        </a:xfrm>
        <a:custGeom>
          <a:avLst/>
          <a:gdLst/>
          <a:ahLst/>
          <a:cxnLst/>
          <a:rect l="0" t="0" r="0" b="0"/>
          <a:pathLst>
            <a:path>
              <a:moveTo>
                <a:pt x="0" y="14567"/>
              </a:moveTo>
              <a:lnTo>
                <a:pt x="1016672" y="14567"/>
              </a:lnTo>
            </a:path>
          </a:pathLst>
        </a:custGeom>
        <a:noFill/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5816204" y="788774"/>
        <a:ext cx="50833" cy="50833"/>
      </dsp:txXfrm>
    </dsp:sp>
    <dsp:sp modelId="{4BA59617-1B7D-46A1-A696-70BC46966D41}">
      <dsp:nvSpPr>
        <dsp:cNvPr id="0" name=""/>
        <dsp:cNvSpPr/>
      </dsp:nvSpPr>
      <dsp:spPr>
        <a:xfrm>
          <a:off x="6254398" y="1537"/>
          <a:ext cx="2063884" cy="10319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 err="1"/>
            <a:t>Email_Incident_Entry</a:t>
          </a:r>
          <a:endParaRPr lang="de-DE" sz="1700" kern="1200" dirty="0"/>
        </a:p>
      </dsp:txBody>
      <dsp:txXfrm>
        <a:off x="6284623" y="31762"/>
        <a:ext cx="2003434" cy="971492"/>
      </dsp:txXfrm>
    </dsp:sp>
    <dsp:sp modelId="{675A7BFF-DB54-4822-829C-9EB16D1C4D08}">
      <dsp:nvSpPr>
        <dsp:cNvPr id="0" name=""/>
        <dsp:cNvSpPr/>
      </dsp:nvSpPr>
      <dsp:spPr>
        <a:xfrm rot="2142401">
          <a:off x="5333285" y="1392990"/>
          <a:ext cx="1016672" cy="29135"/>
        </a:xfrm>
        <a:custGeom>
          <a:avLst/>
          <a:gdLst/>
          <a:ahLst/>
          <a:cxnLst/>
          <a:rect l="0" t="0" r="0" b="0"/>
          <a:pathLst>
            <a:path>
              <a:moveTo>
                <a:pt x="0" y="14567"/>
              </a:moveTo>
              <a:lnTo>
                <a:pt x="1016672" y="14567"/>
              </a:lnTo>
            </a:path>
          </a:pathLst>
        </a:custGeom>
        <a:noFill/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5816204" y="1382141"/>
        <a:ext cx="50833" cy="50833"/>
      </dsp:txXfrm>
    </dsp:sp>
    <dsp:sp modelId="{0E8DB5A2-9649-44B1-9EA0-FE92F30474A3}">
      <dsp:nvSpPr>
        <dsp:cNvPr id="0" name=""/>
        <dsp:cNvSpPr/>
      </dsp:nvSpPr>
      <dsp:spPr>
        <a:xfrm>
          <a:off x="6254398" y="1188270"/>
          <a:ext cx="2063884" cy="10319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/>
            <a:t>Email_Service-Request_Entry</a:t>
          </a:r>
        </a:p>
      </dsp:txBody>
      <dsp:txXfrm>
        <a:off x="6284623" y="1218495"/>
        <a:ext cx="2003434" cy="971492"/>
      </dsp:txXfrm>
    </dsp:sp>
    <dsp:sp modelId="{D1060E9F-0462-4148-A9CB-E3A3F677268A}">
      <dsp:nvSpPr>
        <dsp:cNvPr id="0" name=""/>
        <dsp:cNvSpPr/>
      </dsp:nvSpPr>
      <dsp:spPr>
        <a:xfrm rot="18289469">
          <a:off x="2229363" y="2876406"/>
          <a:ext cx="1445639" cy="29135"/>
        </a:xfrm>
        <a:custGeom>
          <a:avLst/>
          <a:gdLst/>
          <a:ahLst/>
          <a:cxnLst/>
          <a:rect l="0" t="0" r="0" b="0"/>
          <a:pathLst>
            <a:path>
              <a:moveTo>
                <a:pt x="0" y="14567"/>
              </a:moveTo>
              <a:lnTo>
                <a:pt x="1445639" y="1456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916042" y="2854833"/>
        <a:ext cx="72281" cy="72281"/>
      </dsp:txXfrm>
    </dsp:sp>
    <dsp:sp modelId="{5FC27F6F-E12A-4AA3-9C4D-A3F58702D07E}">
      <dsp:nvSpPr>
        <dsp:cNvPr id="0" name=""/>
        <dsp:cNvSpPr/>
      </dsp:nvSpPr>
      <dsp:spPr>
        <a:xfrm>
          <a:off x="3364960" y="1781636"/>
          <a:ext cx="2063884" cy="10319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IKV FTH BR (DI FA)</a:t>
          </a:r>
        </a:p>
      </dsp:txBody>
      <dsp:txXfrm>
        <a:off x="3395185" y="1811861"/>
        <a:ext cx="2003434" cy="971492"/>
      </dsp:txXfrm>
    </dsp:sp>
    <dsp:sp modelId="{118298D7-C1D3-4184-95E7-50C06CA18A62}">
      <dsp:nvSpPr>
        <dsp:cNvPr id="0" name=""/>
        <dsp:cNvSpPr/>
      </dsp:nvSpPr>
      <dsp:spPr>
        <a:xfrm>
          <a:off x="2539406" y="3469773"/>
          <a:ext cx="825553" cy="29135"/>
        </a:xfrm>
        <a:custGeom>
          <a:avLst/>
          <a:gdLst/>
          <a:ahLst/>
          <a:cxnLst/>
          <a:rect l="0" t="0" r="0" b="0"/>
          <a:pathLst>
            <a:path>
              <a:moveTo>
                <a:pt x="0" y="14567"/>
              </a:moveTo>
              <a:lnTo>
                <a:pt x="825553" y="1456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931544" y="3463702"/>
        <a:ext cx="41277" cy="41277"/>
      </dsp:txXfrm>
    </dsp:sp>
    <dsp:sp modelId="{EF1E99A7-ECD9-4C38-A49A-85347EF81D66}">
      <dsp:nvSpPr>
        <dsp:cNvPr id="0" name=""/>
        <dsp:cNvSpPr/>
      </dsp:nvSpPr>
      <dsp:spPr>
        <a:xfrm>
          <a:off x="3364960" y="2968370"/>
          <a:ext cx="2063884" cy="10319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IKV AMB WVS50</a:t>
          </a:r>
        </a:p>
      </dsp:txBody>
      <dsp:txXfrm>
        <a:off x="3395185" y="2998595"/>
        <a:ext cx="2003434" cy="971492"/>
      </dsp:txXfrm>
    </dsp:sp>
    <dsp:sp modelId="{AEC7ADB3-B426-465C-9FDF-218A4952E61B}">
      <dsp:nvSpPr>
        <dsp:cNvPr id="0" name=""/>
        <dsp:cNvSpPr/>
      </dsp:nvSpPr>
      <dsp:spPr>
        <a:xfrm rot="3310531">
          <a:off x="2229363" y="4063140"/>
          <a:ext cx="1445639" cy="29135"/>
        </a:xfrm>
        <a:custGeom>
          <a:avLst/>
          <a:gdLst/>
          <a:ahLst/>
          <a:cxnLst/>
          <a:rect l="0" t="0" r="0" b="0"/>
          <a:pathLst>
            <a:path>
              <a:moveTo>
                <a:pt x="0" y="14567"/>
              </a:moveTo>
              <a:lnTo>
                <a:pt x="1445639" y="1456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916042" y="4041566"/>
        <a:ext cx="72281" cy="72281"/>
      </dsp:txXfrm>
    </dsp:sp>
    <dsp:sp modelId="{58A743F1-C1F6-4EA4-B8CE-4E40635F3AC2}">
      <dsp:nvSpPr>
        <dsp:cNvPr id="0" name=""/>
        <dsp:cNvSpPr/>
      </dsp:nvSpPr>
      <dsp:spPr>
        <a:xfrm>
          <a:off x="3364960" y="4155103"/>
          <a:ext cx="2063884" cy="10319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IKV KHE R (DI FA)</a:t>
          </a:r>
        </a:p>
      </dsp:txBody>
      <dsp:txXfrm>
        <a:off x="3395185" y="4185328"/>
        <a:ext cx="2003434" cy="971492"/>
      </dsp:txXfrm>
    </dsp:sp>
    <dsp:sp modelId="{88C068F8-8B8C-4AC4-8504-F10E8C3FB0BF}">
      <dsp:nvSpPr>
        <dsp:cNvPr id="0" name=""/>
        <dsp:cNvSpPr/>
      </dsp:nvSpPr>
      <dsp:spPr>
        <a:xfrm rot="4249260">
          <a:off x="1695712" y="4656506"/>
          <a:ext cx="2512943" cy="29135"/>
        </a:xfrm>
        <a:custGeom>
          <a:avLst/>
          <a:gdLst/>
          <a:ahLst/>
          <a:cxnLst/>
          <a:rect l="0" t="0" r="0" b="0"/>
          <a:pathLst>
            <a:path>
              <a:moveTo>
                <a:pt x="0" y="14567"/>
              </a:moveTo>
              <a:lnTo>
                <a:pt x="2512943" y="1456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900" kern="1200"/>
        </a:p>
      </dsp:txBody>
      <dsp:txXfrm>
        <a:off x="2889360" y="4608251"/>
        <a:ext cx="125647" cy="125647"/>
      </dsp:txXfrm>
    </dsp:sp>
    <dsp:sp modelId="{D354B8B5-6231-4336-A87C-EE7855A0FF45}">
      <dsp:nvSpPr>
        <dsp:cNvPr id="0" name=""/>
        <dsp:cNvSpPr/>
      </dsp:nvSpPr>
      <dsp:spPr>
        <a:xfrm>
          <a:off x="3364960" y="5341836"/>
          <a:ext cx="2063884" cy="10319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IKV NBG M</a:t>
          </a:r>
        </a:p>
      </dsp:txBody>
      <dsp:txXfrm>
        <a:off x="3395185" y="5372061"/>
        <a:ext cx="2003434" cy="9714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/>
    <p:bodyStyle/>
    <p:otherStyle/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hyperlink" Target="mailto:tima.it@siemens.com" TargetMode="Externa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Freeform 100"/>
          <p:cNvSpPr/>
          <p:nvPr/>
        </p:nvSpPr>
        <p:spPr>
          <a:xfrm>
            <a:off x="17830800" y="5930804"/>
            <a:ext cx="2450256" cy="2416870"/>
          </a:xfrm>
          <a:custGeom>
            <a:avLst/>
            <a:gdLst/>
            <a:ahLst/>
            <a:cxnLst/>
            <a:rect l="0" t="0" r="0" b="0"/>
            <a:pathLst>
              <a:path w="2450256" h="2416870">
                <a:moveTo>
                  <a:pt x="0" y="2416870"/>
                </a:moveTo>
                <a:lnTo>
                  <a:pt x="2450256" y="2416870"/>
                </a:lnTo>
                <a:lnTo>
                  <a:pt x="2450256" y="0"/>
                </a:lnTo>
                <a:lnTo>
                  <a:pt x="0" y="0"/>
                </a:lnTo>
                <a:lnTo>
                  <a:pt x="0" y="2416870"/>
                </a:lnTo>
                <a:close/>
              </a:path>
            </a:pathLst>
          </a:custGeom>
          <a:solidFill>
            <a:srgbClr val="5AC4F6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01" name="Picture 101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93879" y="9658570"/>
            <a:ext cx="2246897" cy="1429736"/>
          </a:xfrm>
          <a:prstGeom prst="rect">
            <a:avLst/>
          </a:prstGeom>
          <a:noFill/>
        </p:spPr>
      </p:pic>
      <p:sp>
        <p:nvSpPr>
          <p:cNvPr id="102" name="Freeform 102"/>
          <p:cNvSpPr/>
          <p:nvPr/>
        </p:nvSpPr>
        <p:spPr>
          <a:xfrm flipV="1">
            <a:off x="6464300" y="4796922"/>
            <a:ext cx="3328623" cy="3983949"/>
          </a:xfrm>
          <a:custGeom>
            <a:avLst/>
            <a:gdLst/>
            <a:ahLst/>
            <a:cxnLst/>
            <a:rect l="0" t="0" r="0" b="0"/>
            <a:pathLst>
              <a:path w="3328623" h="3983949">
                <a:moveTo>
                  <a:pt x="0" y="3983949"/>
                </a:moveTo>
                <a:lnTo>
                  <a:pt x="3328623" y="3983949"/>
                </a:lnTo>
                <a:lnTo>
                  <a:pt x="3328623" y="0"/>
                </a:lnTo>
                <a:lnTo>
                  <a:pt x="0" y="0"/>
                </a:lnTo>
                <a:lnTo>
                  <a:pt x="0" y="3983949"/>
                </a:lnTo>
                <a:close/>
              </a:path>
            </a:pathLst>
          </a:custGeom>
          <a:noFill/>
          <a:ln w="50800" cap="flat" cmpd="sng">
            <a:solidFill>
              <a:srgbClr val="6CE4CF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03" name="Picture 10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428913" y="8782418"/>
            <a:ext cx="4902286" cy="1664054"/>
          </a:xfrm>
          <a:prstGeom prst="rect">
            <a:avLst/>
          </a:prstGeom>
          <a:noFill/>
        </p:spPr>
      </p:pic>
      <p:sp>
        <p:nvSpPr>
          <p:cNvPr id="104" name="Freeform 104"/>
          <p:cNvSpPr/>
          <p:nvPr/>
        </p:nvSpPr>
        <p:spPr>
          <a:xfrm flipV="1">
            <a:off x="13271500" y="4398619"/>
            <a:ext cx="7290593" cy="5481241"/>
          </a:xfrm>
          <a:custGeom>
            <a:avLst/>
            <a:gdLst/>
            <a:ahLst/>
            <a:cxnLst/>
            <a:rect l="0" t="0" r="0" b="0"/>
            <a:pathLst>
              <a:path w="7290593" h="5481241">
                <a:moveTo>
                  <a:pt x="0" y="5481241"/>
                </a:moveTo>
                <a:lnTo>
                  <a:pt x="7290593" y="5481241"/>
                </a:lnTo>
                <a:lnTo>
                  <a:pt x="7290593" y="0"/>
                </a:lnTo>
                <a:lnTo>
                  <a:pt x="0" y="0"/>
                </a:lnTo>
                <a:lnTo>
                  <a:pt x="0" y="5481241"/>
                </a:lnTo>
                <a:close/>
              </a:path>
            </a:pathLst>
          </a:custGeom>
          <a:noFill/>
          <a:ln w="38100" cap="flat" cmpd="sng">
            <a:solidFill>
              <a:srgbClr val="5AC4F6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105" name="Freeform 105"/>
          <p:cNvSpPr/>
          <p:nvPr/>
        </p:nvSpPr>
        <p:spPr>
          <a:xfrm>
            <a:off x="1092200" y="5703925"/>
            <a:ext cx="2450256" cy="2416870"/>
          </a:xfrm>
          <a:custGeom>
            <a:avLst/>
            <a:gdLst/>
            <a:ahLst/>
            <a:cxnLst/>
            <a:rect l="0" t="0" r="0" b="0"/>
            <a:pathLst>
              <a:path w="2450256" h="2416870">
                <a:moveTo>
                  <a:pt x="0" y="2416870"/>
                </a:moveTo>
                <a:lnTo>
                  <a:pt x="2450256" y="2416870"/>
                </a:lnTo>
                <a:lnTo>
                  <a:pt x="2450256" y="0"/>
                </a:lnTo>
                <a:lnTo>
                  <a:pt x="0" y="0"/>
                </a:lnTo>
                <a:lnTo>
                  <a:pt x="0" y="2416870"/>
                </a:lnTo>
                <a:close/>
              </a:path>
            </a:pathLst>
          </a:custGeom>
          <a:solidFill>
            <a:srgbClr val="295FF4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6" name="Freeform 106"/>
          <p:cNvSpPr/>
          <p:nvPr/>
        </p:nvSpPr>
        <p:spPr>
          <a:xfrm flipV="1">
            <a:off x="3636104" y="6927827"/>
            <a:ext cx="2560557" cy="0"/>
          </a:xfrm>
          <a:custGeom>
            <a:avLst/>
            <a:gdLst/>
            <a:ahLst/>
            <a:cxnLst/>
            <a:rect l="0" t="0" r="0" b="0"/>
            <a:pathLst>
              <a:path w="2560557">
                <a:moveTo>
                  <a:pt x="0" y="0"/>
                </a:moveTo>
                <a:lnTo>
                  <a:pt x="2541507" y="0"/>
                </a:lnTo>
                <a:lnTo>
                  <a:pt x="2560557" y="0"/>
                </a:lnTo>
              </a:path>
            </a:pathLst>
          </a:custGeom>
          <a:noFill/>
          <a:ln w="38100" cap="flat" cmpd="sng">
            <a:solidFill>
              <a:srgbClr val="000000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7" name="Freeform 107"/>
          <p:cNvSpPr/>
          <p:nvPr/>
        </p:nvSpPr>
        <p:spPr>
          <a:xfrm>
            <a:off x="6177612" y="6844007"/>
            <a:ext cx="167640" cy="167641"/>
          </a:xfrm>
          <a:custGeom>
            <a:avLst/>
            <a:gdLst/>
            <a:ahLst/>
            <a:cxnLst/>
            <a:rect l="0" t="0" r="0" b="0"/>
            <a:pathLst>
              <a:path w="167640" h="167641">
                <a:moveTo>
                  <a:pt x="0" y="167641"/>
                </a:moveTo>
                <a:lnTo>
                  <a:pt x="167640" y="83820"/>
                </a:lnTo>
                <a:lnTo>
                  <a:pt x="0" y="0"/>
                </a:lnTo>
                <a:close/>
                <a:moveTo>
                  <a:pt x="2108258" y="8453511"/>
                </a:moveTo>
              </a:path>
            </a:pathLst>
          </a:custGeom>
          <a:solidFill>
            <a:srgbClr val="000000">
              <a:alpha val="10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8" name="Freeform 108"/>
          <p:cNvSpPr/>
          <p:nvPr/>
        </p:nvSpPr>
        <p:spPr>
          <a:xfrm>
            <a:off x="1092200" y="1589125"/>
            <a:ext cx="2450256" cy="2416870"/>
          </a:xfrm>
          <a:custGeom>
            <a:avLst/>
            <a:gdLst/>
            <a:ahLst/>
            <a:cxnLst/>
            <a:rect l="0" t="0" r="0" b="0"/>
            <a:pathLst>
              <a:path w="2450256" h="2416870">
                <a:moveTo>
                  <a:pt x="0" y="2416870"/>
                </a:moveTo>
                <a:lnTo>
                  <a:pt x="2450256" y="2416870"/>
                </a:lnTo>
                <a:lnTo>
                  <a:pt x="2450256" y="0"/>
                </a:lnTo>
                <a:lnTo>
                  <a:pt x="0" y="0"/>
                </a:lnTo>
                <a:lnTo>
                  <a:pt x="0" y="2416870"/>
                </a:lnTo>
                <a:close/>
              </a:path>
            </a:pathLst>
          </a:custGeom>
          <a:solidFill>
            <a:srgbClr val="295FF4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09" name="Picture 109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469047" y="2750244"/>
            <a:ext cx="4595452" cy="2069774"/>
          </a:xfrm>
          <a:prstGeom prst="rect">
            <a:avLst/>
          </a:prstGeom>
          <a:noFill/>
        </p:spPr>
      </p:pic>
      <p:sp>
        <p:nvSpPr>
          <p:cNvPr id="110" name="Freeform 110"/>
          <p:cNvSpPr/>
          <p:nvPr/>
        </p:nvSpPr>
        <p:spPr>
          <a:xfrm flipV="1">
            <a:off x="9911970" y="7139239"/>
            <a:ext cx="3098242" cy="0"/>
          </a:xfrm>
          <a:custGeom>
            <a:avLst/>
            <a:gdLst/>
            <a:ahLst/>
            <a:cxnLst/>
            <a:rect l="0" t="0" r="0" b="0"/>
            <a:pathLst>
              <a:path w="3098242">
                <a:moveTo>
                  <a:pt x="0" y="0"/>
                </a:moveTo>
                <a:lnTo>
                  <a:pt x="3079192" y="0"/>
                </a:lnTo>
                <a:lnTo>
                  <a:pt x="3098242" y="0"/>
                </a:lnTo>
              </a:path>
            </a:pathLst>
          </a:custGeom>
          <a:noFill/>
          <a:ln w="38100" cap="flat" cmpd="sng">
            <a:solidFill>
              <a:srgbClr val="000000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1" name="Freeform 111"/>
          <p:cNvSpPr/>
          <p:nvPr/>
        </p:nvSpPr>
        <p:spPr>
          <a:xfrm>
            <a:off x="12991160" y="7055419"/>
            <a:ext cx="167639" cy="167640"/>
          </a:xfrm>
          <a:custGeom>
            <a:avLst/>
            <a:gdLst/>
            <a:ahLst/>
            <a:cxnLst/>
            <a:rect l="0" t="0" r="0" b="0"/>
            <a:pathLst>
              <a:path w="167639" h="167640">
                <a:moveTo>
                  <a:pt x="0" y="167640"/>
                </a:moveTo>
                <a:lnTo>
                  <a:pt x="167639" y="83820"/>
                </a:lnTo>
                <a:lnTo>
                  <a:pt x="0" y="0"/>
                </a:lnTo>
                <a:close/>
                <a:moveTo>
                  <a:pt x="-4916701" y="8242099"/>
                </a:moveTo>
              </a:path>
            </a:pathLst>
          </a:custGeom>
          <a:solidFill>
            <a:srgbClr val="000000">
              <a:alpha val="10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2" name="Freeform 112"/>
          <p:cNvSpPr/>
          <p:nvPr/>
        </p:nvSpPr>
        <p:spPr>
          <a:xfrm>
            <a:off x="13233400" y="10593424"/>
            <a:ext cx="2450256" cy="2416870"/>
          </a:xfrm>
          <a:custGeom>
            <a:avLst/>
            <a:gdLst/>
            <a:ahLst/>
            <a:cxnLst/>
            <a:rect l="0" t="0" r="0" b="0"/>
            <a:pathLst>
              <a:path w="2450256" h="2416870">
                <a:moveTo>
                  <a:pt x="0" y="2416870"/>
                </a:moveTo>
                <a:lnTo>
                  <a:pt x="2450256" y="2416870"/>
                </a:lnTo>
                <a:lnTo>
                  <a:pt x="2450256" y="0"/>
                </a:lnTo>
                <a:lnTo>
                  <a:pt x="0" y="0"/>
                </a:lnTo>
                <a:lnTo>
                  <a:pt x="0" y="2416870"/>
                </a:lnTo>
                <a:close/>
              </a:path>
            </a:pathLst>
          </a:custGeom>
          <a:solidFill>
            <a:srgbClr val="5AC4F6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3" name="Freeform 113"/>
          <p:cNvSpPr/>
          <p:nvPr/>
        </p:nvSpPr>
        <p:spPr>
          <a:xfrm>
            <a:off x="7119928" y="6308676"/>
            <a:ext cx="2017366" cy="830412"/>
          </a:xfrm>
          <a:custGeom>
            <a:avLst/>
            <a:gdLst/>
            <a:ahLst/>
            <a:cxnLst/>
            <a:rect l="0" t="0" r="0" b="0"/>
            <a:pathLst>
              <a:path w="2017366" h="830412">
                <a:moveTo>
                  <a:pt x="0" y="830412"/>
                </a:moveTo>
                <a:lnTo>
                  <a:pt x="2017366" y="830412"/>
                </a:lnTo>
                <a:lnTo>
                  <a:pt x="2017366" y="0"/>
                </a:lnTo>
                <a:lnTo>
                  <a:pt x="0" y="0"/>
                </a:lnTo>
                <a:lnTo>
                  <a:pt x="0" y="830412"/>
                </a:lnTo>
                <a:close/>
              </a:path>
            </a:pathLst>
          </a:custGeom>
          <a:solidFill>
            <a:srgbClr val="6CE4C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4" name="Freeform 114"/>
          <p:cNvSpPr/>
          <p:nvPr/>
        </p:nvSpPr>
        <p:spPr>
          <a:xfrm>
            <a:off x="7119928" y="7526205"/>
            <a:ext cx="2017366" cy="830412"/>
          </a:xfrm>
          <a:custGeom>
            <a:avLst/>
            <a:gdLst/>
            <a:ahLst/>
            <a:cxnLst/>
            <a:rect l="0" t="0" r="0" b="0"/>
            <a:pathLst>
              <a:path w="2017366" h="830412">
                <a:moveTo>
                  <a:pt x="0" y="830412"/>
                </a:moveTo>
                <a:lnTo>
                  <a:pt x="2017366" y="830412"/>
                </a:lnTo>
                <a:lnTo>
                  <a:pt x="2017366" y="0"/>
                </a:lnTo>
                <a:lnTo>
                  <a:pt x="0" y="0"/>
                </a:lnTo>
                <a:lnTo>
                  <a:pt x="0" y="830412"/>
                </a:lnTo>
                <a:close/>
              </a:path>
            </a:pathLst>
          </a:custGeom>
          <a:solidFill>
            <a:srgbClr val="6CE4C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5" name="Freeform 115"/>
          <p:cNvSpPr/>
          <p:nvPr/>
        </p:nvSpPr>
        <p:spPr>
          <a:xfrm>
            <a:off x="13665200" y="6927312"/>
            <a:ext cx="1856878" cy="1701800"/>
          </a:xfrm>
          <a:custGeom>
            <a:avLst/>
            <a:gdLst/>
            <a:ahLst/>
            <a:cxnLst/>
            <a:rect l="0" t="0" r="0" b="0"/>
            <a:pathLst>
              <a:path w="1856878" h="1701800">
                <a:moveTo>
                  <a:pt x="0" y="1701800"/>
                </a:moveTo>
                <a:lnTo>
                  <a:pt x="1856878" y="1701800"/>
                </a:lnTo>
                <a:lnTo>
                  <a:pt x="1856878" y="0"/>
                </a:lnTo>
                <a:lnTo>
                  <a:pt x="0" y="0"/>
                </a:lnTo>
                <a:lnTo>
                  <a:pt x="0" y="1701800"/>
                </a:lnTo>
                <a:close/>
              </a:path>
            </a:pathLst>
          </a:custGeom>
          <a:solidFill>
            <a:srgbClr val="5AC4F6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116" name="Freeform 116"/>
          <p:cNvSpPr/>
          <p:nvPr/>
        </p:nvSpPr>
        <p:spPr>
          <a:xfrm flipV="1">
            <a:off x="15513952" y="7821024"/>
            <a:ext cx="2176378" cy="0"/>
          </a:xfrm>
          <a:custGeom>
            <a:avLst/>
            <a:gdLst/>
            <a:ahLst/>
            <a:cxnLst/>
            <a:rect l="0" t="0" r="0" b="0"/>
            <a:pathLst>
              <a:path w="2176378">
                <a:moveTo>
                  <a:pt x="0" y="0"/>
                </a:moveTo>
                <a:lnTo>
                  <a:pt x="2157328" y="0"/>
                </a:lnTo>
                <a:lnTo>
                  <a:pt x="2176378" y="0"/>
                </a:lnTo>
              </a:path>
            </a:pathLst>
          </a:custGeom>
          <a:noFill/>
          <a:ln w="38100" cap="flat" cmpd="sng">
            <a:solidFill>
              <a:srgbClr val="000000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7" name="Freeform 117"/>
          <p:cNvSpPr/>
          <p:nvPr/>
        </p:nvSpPr>
        <p:spPr>
          <a:xfrm>
            <a:off x="17671287" y="7737205"/>
            <a:ext cx="167641" cy="167640"/>
          </a:xfrm>
          <a:custGeom>
            <a:avLst/>
            <a:gdLst/>
            <a:ahLst/>
            <a:cxnLst/>
            <a:rect l="0" t="0" r="0" b="0"/>
            <a:pathLst>
              <a:path w="167641" h="167640">
                <a:moveTo>
                  <a:pt x="0" y="167640"/>
                </a:moveTo>
                <a:lnTo>
                  <a:pt x="167641" y="83819"/>
                </a:lnTo>
                <a:lnTo>
                  <a:pt x="0" y="0"/>
                </a:lnTo>
                <a:close/>
                <a:moveTo>
                  <a:pt x="-10278614" y="7560313"/>
                </a:moveTo>
              </a:path>
            </a:pathLst>
          </a:custGeom>
          <a:solidFill>
            <a:srgbClr val="000000">
              <a:alpha val="10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8" name="Freeform 118"/>
          <p:cNvSpPr/>
          <p:nvPr/>
        </p:nvSpPr>
        <p:spPr>
          <a:xfrm rot="10800000" flipV="1">
            <a:off x="10045796" y="8118691"/>
            <a:ext cx="3127773" cy="0"/>
          </a:xfrm>
          <a:custGeom>
            <a:avLst/>
            <a:gdLst/>
            <a:ahLst/>
            <a:cxnLst/>
            <a:rect l="0" t="0" r="0" b="0"/>
            <a:pathLst>
              <a:path w="3127773">
                <a:moveTo>
                  <a:pt x="0" y="0"/>
                </a:moveTo>
                <a:lnTo>
                  <a:pt x="3108723" y="0"/>
                </a:lnTo>
                <a:lnTo>
                  <a:pt x="3127773" y="0"/>
                </a:lnTo>
              </a:path>
            </a:pathLst>
          </a:custGeom>
          <a:noFill/>
          <a:ln w="38100" cap="flat" cmpd="sng">
            <a:solidFill>
              <a:srgbClr val="000000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9" name="Freeform 119"/>
          <p:cNvSpPr/>
          <p:nvPr/>
        </p:nvSpPr>
        <p:spPr>
          <a:xfrm>
            <a:off x="9897203" y="8034871"/>
            <a:ext cx="167640" cy="167640"/>
          </a:xfrm>
          <a:custGeom>
            <a:avLst/>
            <a:gdLst/>
            <a:ahLst/>
            <a:cxnLst/>
            <a:rect l="0" t="0" r="0" b="0"/>
            <a:pathLst>
              <a:path w="167640" h="167640">
                <a:moveTo>
                  <a:pt x="167640" y="0"/>
                </a:moveTo>
                <a:lnTo>
                  <a:pt x="0" y="83820"/>
                </a:lnTo>
                <a:lnTo>
                  <a:pt x="167640" y="167640"/>
                </a:lnTo>
                <a:close/>
                <a:moveTo>
                  <a:pt x="-2634556" y="7262647"/>
                </a:moveTo>
              </a:path>
            </a:pathLst>
          </a:custGeom>
          <a:solidFill>
            <a:srgbClr val="000000">
              <a:alpha val="10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20" name="Freeform 120"/>
          <p:cNvSpPr/>
          <p:nvPr/>
        </p:nvSpPr>
        <p:spPr>
          <a:xfrm flipV="1">
            <a:off x="20993138" y="3006873"/>
            <a:ext cx="1525154" cy="0"/>
          </a:xfrm>
          <a:custGeom>
            <a:avLst/>
            <a:gdLst/>
            <a:ahLst/>
            <a:cxnLst/>
            <a:rect l="0" t="0" r="0" b="0"/>
            <a:pathLst>
              <a:path w="1525154">
                <a:moveTo>
                  <a:pt x="0" y="0"/>
                </a:moveTo>
                <a:lnTo>
                  <a:pt x="1525154" y="0"/>
                </a:lnTo>
              </a:path>
            </a:pathLst>
          </a:custGeom>
          <a:noFill/>
          <a:ln w="18342" cap="flat" cmpd="sng">
            <a:solidFill>
              <a:srgbClr val="000000">
                <a:alpha val="10000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21" name="Freeform 121"/>
          <p:cNvSpPr/>
          <p:nvPr/>
        </p:nvSpPr>
        <p:spPr>
          <a:xfrm rot="5400000" flipV="1">
            <a:off x="14204888" y="10171871"/>
            <a:ext cx="576119" cy="0"/>
          </a:xfrm>
          <a:custGeom>
            <a:avLst/>
            <a:gdLst/>
            <a:ahLst/>
            <a:cxnLst/>
            <a:rect l="0" t="0" r="0" b="0"/>
            <a:pathLst>
              <a:path w="576119">
                <a:moveTo>
                  <a:pt x="0" y="0"/>
                </a:moveTo>
                <a:lnTo>
                  <a:pt x="557069" y="0"/>
                </a:lnTo>
                <a:lnTo>
                  <a:pt x="576119" y="0"/>
                </a:lnTo>
              </a:path>
            </a:pathLst>
          </a:custGeom>
          <a:noFill/>
          <a:ln w="38100" cap="flat" cmpd="sng">
            <a:solidFill>
              <a:srgbClr val="000000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22" name="Freeform 122"/>
          <p:cNvSpPr/>
          <p:nvPr/>
        </p:nvSpPr>
        <p:spPr>
          <a:xfrm>
            <a:off x="14409128" y="10440881"/>
            <a:ext cx="167639" cy="167640"/>
          </a:xfrm>
          <a:custGeom>
            <a:avLst/>
            <a:gdLst/>
            <a:ahLst/>
            <a:cxnLst/>
            <a:rect l="0" t="0" r="0" b="0"/>
            <a:pathLst>
              <a:path w="167639" h="167640">
                <a:moveTo>
                  <a:pt x="0" y="0"/>
                </a:moveTo>
                <a:lnTo>
                  <a:pt x="83819" y="167640"/>
                </a:lnTo>
                <a:lnTo>
                  <a:pt x="167639" y="0"/>
                </a:lnTo>
                <a:close/>
                <a:moveTo>
                  <a:pt x="-9552491" y="4856637"/>
                </a:moveTo>
              </a:path>
            </a:pathLst>
          </a:custGeom>
          <a:solidFill>
            <a:srgbClr val="000000">
              <a:alpha val="10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23" name="Picture 123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817100" y="8769718"/>
            <a:ext cx="4685551" cy="1683191"/>
          </a:xfrm>
          <a:prstGeom prst="rect">
            <a:avLst/>
          </a:prstGeom>
          <a:noFill/>
        </p:spPr>
      </p:pic>
      <p:sp>
        <p:nvSpPr>
          <p:cNvPr id="124" name="Freeform 124"/>
          <p:cNvSpPr/>
          <p:nvPr/>
        </p:nvSpPr>
        <p:spPr>
          <a:xfrm flipV="1">
            <a:off x="495300" y="966826"/>
            <a:ext cx="3757711" cy="10463610"/>
          </a:xfrm>
          <a:custGeom>
            <a:avLst/>
            <a:gdLst/>
            <a:ahLst/>
            <a:cxnLst/>
            <a:rect l="0" t="0" r="0" b="0"/>
            <a:pathLst>
              <a:path w="3757711" h="10463610">
                <a:moveTo>
                  <a:pt x="0" y="10463610"/>
                </a:moveTo>
                <a:lnTo>
                  <a:pt x="3757711" y="10463610"/>
                </a:lnTo>
                <a:lnTo>
                  <a:pt x="3757711" y="0"/>
                </a:lnTo>
                <a:lnTo>
                  <a:pt x="0" y="0"/>
                </a:lnTo>
                <a:lnTo>
                  <a:pt x="0" y="10463610"/>
                </a:lnTo>
                <a:close/>
              </a:path>
            </a:pathLst>
          </a:custGeom>
          <a:noFill/>
          <a:ln w="50800" cap="flat" cmpd="sng">
            <a:solidFill>
              <a:srgbClr val="EB539F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25" name="Freeform 125"/>
          <p:cNvSpPr/>
          <p:nvPr/>
        </p:nvSpPr>
        <p:spPr>
          <a:xfrm flipV="1">
            <a:off x="13050913" y="9946010"/>
            <a:ext cx="7532934" cy="3568947"/>
          </a:xfrm>
          <a:custGeom>
            <a:avLst/>
            <a:gdLst/>
            <a:ahLst/>
            <a:cxnLst/>
            <a:rect l="0" t="0" r="0" b="0"/>
            <a:pathLst>
              <a:path w="7532934" h="3568947">
                <a:moveTo>
                  <a:pt x="0" y="3568947"/>
                </a:moveTo>
                <a:lnTo>
                  <a:pt x="7532934" y="3568947"/>
                </a:lnTo>
                <a:lnTo>
                  <a:pt x="7532934" y="0"/>
                </a:lnTo>
                <a:lnTo>
                  <a:pt x="0" y="0"/>
                </a:lnTo>
                <a:lnTo>
                  <a:pt x="0" y="3568947"/>
                </a:lnTo>
                <a:close/>
              </a:path>
            </a:pathLst>
          </a:custGeom>
          <a:noFill/>
          <a:ln w="38100" cap="flat" cmpd="sng">
            <a:solidFill>
              <a:srgbClr val="F6CE46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26" name="Freeform 126"/>
          <p:cNvSpPr/>
          <p:nvPr/>
        </p:nvSpPr>
        <p:spPr>
          <a:xfrm flipV="1">
            <a:off x="20944192" y="7615315"/>
            <a:ext cx="1909429" cy="0"/>
          </a:xfrm>
          <a:custGeom>
            <a:avLst/>
            <a:gdLst/>
            <a:ahLst/>
            <a:cxnLst/>
            <a:rect l="0" t="0" r="0" b="0"/>
            <a:pathLst>
              <a:path w="1909429">
                <a:moveTo>
                  <a:pt x="0" y="0"/>
                </a:moveTo>
                <a:lnTo>
                  <a:pt x="1909429" y="0"/>
                </a:lnTo>
              </a:path>
            </a:pathLst>
          </a:custGeom>
          <a:noFill/>
          <a:ln w="18342" cap="flat" cmpd="sng">
            <a:solidFill>
              <a:srgbClr val="000000">
                <a:alpha val="10000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27" name="Freeform 127"/>
          <p:cNvSpPr/>
          <p:nvPr/>
        </p:nvSpPr>
        <p:spPr>
          <a:xfrm flipV="1">
            <a:off x="20993138" y="12036360"/>
            <a:ext cx="3777882" cy="0"/>
          </a:xfrm>
          <a:custGeom>
            <a:avLst/>
            <a:gdLst/>
            <a:ahLst/>
            <a:cxnLst/>
            <a:rect l="0" t="0" r="0" b="0"/>
            <a:pathLst>
              <a:path w="3777882">
                <a:moveTo>
                  <a:pt x="0" y="0"/>
                </a:moveTo>
                <a:lnTo>
                  <a:pt x="3777882" y="0"/>
                </a:lnTo>
              </a:path>
            </a:pathLst>
          </a:custGeom>
          <a:noFill/>
          <a:ln w="18342" cap="flat" cmpd="sng">
            <a:solidFill>
              <a:srgbClr val="000000">
                <a:alpha val="10000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28" name="Freeform 128"/>
          <p:cNvSpPr/>
          <p:nvPr/>
        </p:nvSpPr>
        <p:spPr>
          <a:xfrm flipV="1">
            <a:off x="20993138" y="9556757"/>
            <a:ext cx="1496013" cy="0"/>
          </a:xfrm>
          <a:custGeom>
            <a:avLst/>
            <a:gdLst/>
            <a:ahLst/>
            <a:cxnLst/>
            <a:rect l="0" t="0" r="0" b="0"/>
            <a:pathLst>
              <a:path w="1496013">
                <a:moveTo>
                  <a:pt x="0" y="0"/>
                </a:moveTo>
                <a:lnTo>
                  <a:pt x="1496013" y="0"/>
                </a:lnTo>
              </a:path>
            </a:pathLst>
          </a:custGeom>
          <a:noFill/>
          <a:ln w="18342" cap="flat" cmpd="sng">
            <a:solidFill>
              <a:srgbClr val="000000">
                <a:alpha val="10000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29" name="Freeform 129"/>
          <p:cNvSpPr/>
          <p:nvPr/>
        </p:nvSpPr>
        <p:spPr>
          <a:xfrm>
            <a:off x="7119928" y="5091145"/>
            <a:ext cx="2017366" cy="830412"/>
          </a:xfrm>
          <a:custGeom>
            <a:avLst/>
            <a:gdLst/>
            <a:ahLst/>
            <a:cxnLst/>
            <a:rect l="0" t="0" r="0" b="0"/>
            <a:pathLst>
              <a:path w="2017366" h="830412">
                <a:moveTo>
                  <a:pt x="0" y="830412"/>
                </a:moveTo>
                <a:lnTo>
                  <a:pt x="2017366" y="830412"/>
                </a:lnTo>
                <a:lnTo>
                  <a:pt x="2017366" y="0"/>
                </a:lnTo>
                <a:lnTo>
                  <a:pt x="0" y="0"/>
                </a:lnTo>
                <a:lnTo>
                  <a:pt x="0" y="830412"/>
                </a:lnTo>
                <a:close/>
              </a:path>
            </a:pathLst>
          </a:custGeom>
          <a:solidFill>
            <a:srgbClr val="6CE4C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0" name="Freeform 130"/>
          <p:cNvSpPr/>
          <p:nvPr/>
        </p:nvSpPr>
        <p:spPr>
          <a:xfrm flipV="1">
            <a:off x="13734135" y="6434811"/>
            <a:ext cx="3918529" cy="0"/>
          </a:xfrm>
          <a:custGeom>
            <a:avLst/>
            <a:gdLst/>
            <a:ahLst/>
            <a:cxnLst/>
            <a:rect l="0" t="0" r="0" b="0"/>
            <a:pathLst>
              <a:path w="3918529">
                <a:moveTo>
                  <a:pt x="0" y="0"/>
                </a:moveTo>
                <a:lnTo>
                  <a:pt x="3899479" y="0"/>
                </a:lnTo>
                <a:lnTo>
                  <a:pt x="3918529" y="0"/>
                </a:lnTo>
              </a:path>
            </a:pathLst>
          </a:custGeom>
          <a:noFill/>
          <a:ln w="38100" cap="flat" cmpd="sng">
            <a:solidFill>
              <a:srgbClr val="000000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1" name="Freeform 131"/>
          <p:cNvSpPr/>
          <p:nvPr/>
        </p:nvSpPr>
        <p:spPr>
          <a:xfrm>
            <a:off x="17633619" y="6350991"/>
            <a:ext cx="167640" cy="167640"/>
          </a:xfrm>
          <a:custGeom>
            <a:avLst/>
            <a:gdLst/>
            <a:ahLst/>
            <a:cxnLst/>
            <a:rect l="0" t="0" r="0" b="0"/>
            <a:pathLst>
              <a:path w="167640" h="167640">
                <a:moveTo>
                  <a:pt x="0" y="167640"/>
                </a:moveTo>
                <a:lnTo>
                  <a:pt x="167640" y="83820"/>
                </a:lnTo>
                <a:lnTo>
                  <a:pt x="0" y="0"/>
                </a:lnTo>
                <a:close/>
                <a:moveTo>
                  <a:pt x="-8854732" y="8946527"/>
                </a:moveTo>
              </a:path>
            </a:pathLst>
          </a:custGeom>
          <a:solidFill>
            <a:srgbClr val="000000">
              <a:alpha val="10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2" name="Freeform 132"/>
          <p:cNvSpPr/>
          <p:nvPr/>
        </p:nvSpPr>
        <p:spPr>
          <a:xfrm rot="5400000" flipV="1">
            <a:off x="18428058" y="9000295"/>
            <a:ext cx="1255747" cy="0"/>
          </a:xfrm>
          <a:custGeom>
            <a:avLst/>
            <a:gdLst/>
            <a:ahLst/>
            <a:cxnLst/>
            <a:rect l="0" t="0" r="0" b="0"/>
            <a:pathLst>
              <a:path w="1255747">
                <a:moveTo>
                  <a:pt x="0" y="0"/>
                </a:moveTo>
                <a:lnTo>
                  <a:pt x="1236697" y="0"/>
                </a:lnTo>
                <a:lnTo>
                  <a:pt x="1255747" y="0"/>
                </a:lnTo>
              </a:path>
            </a:pathLst>
          </a:custGeom>
          <a:noFill/>
          <a:ln w="38100" cap="flat" cmpd="sng">
            <a:solidFill>
              <a:srgbClr val="000000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3" name="Freeform 133"/>
          <p:cNvSpPr/>
          <p:nvPr/>
        </p:nvSpPr>
        <p:spPr>
          <a:xfrm>
            <a:off x="18972110" y="9609119"/>
            <a:ext cx="167641" cy="167640"/>
          </a:xfrm>
          <a:custGeom>
            <a:avLst/>
            <a:gdLst/>
            <a:ahLst/>
            <a:cxnLst/>
            <a:rect l="0" t="0" r="0" b="0"/>
            <a:pathLst>
              <a:path w="167641" h="167640">
                <a:moveTo>
                  <a:pt x="0" y="0"/>
                </a:moveTo>
                <a:lnTo>
                  <a:pt x="83821" y="167640"/>
                </a:lnTo>
                <a:lnTo>
                  <a:pt x="167641" y="0"/>
                </a:lnTo>
                <a:close/>
                <a:moveTo>
                  <a:pt x="-13283711" y="5688399"/>
                </a:moveTo>
              </a:path>
            </a:pathLst>
          </a:custGeom>
          <a:solidFill>
            <a:srgbClr val="000000">
              <a:alpha val="10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4" name="Rectangle 134"/>
          <p:cNvSpPr/>
          <p:nvPr/>
        </p:nvSpPr>
        <p:spPr>
          <a:xfrm>
            <a:off x="18946457" y="6996298"/>
            <a:ext cx="224416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AI</a:t>
            </a:r>
          </a:p>
        </p:txBody>
      </p:sp>
      <p:sp>
        <p:nvSpPr>
          <p:cNvPr id="135" name="Rectangle 135"/>
          <p:cNvSpPr/>
          <p:nvPr/>
        </p:nvSpPr>
        <p:spPr>
          <a:xfrm>
            <a:off x="1339246" y="10389102"/>
            <a:ext cx="580598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FFFFFF"/>
                </a:solidFill>
                <a:latin typeface="Arial"/>
              </a:rPr>
              <a:t>Email</a:t>
            </a:r>
          </a:p>
        </p:txBody>
      </p:sp>
      <p:sp>
        <p:nvSpPr>
          <p:cNvPr id="136" name="Rectangle 136"/>
          <p:cNvSpPr/>
          <p:nvPr/>
        </p:nvSpPr>
        <p:spPr>
          <a:xfrm>
            <a:off x="16455555" y="3976564"/>
            <a:ext cx="928070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Backend</a:t>
            </a:r>
          </a:p>
        </p:txBody>
      </p:sp>
      <p:sp>
        <p:nvSpPr>
          <p:cNvPr id="137" name="Rectangle 137"/>
          <p:cNvSpPr/>
          <p:nvPr/>
        </p:nvSpPr>
        <p:spPr>
          <a:xfrm>
            <a:off x="2092039" y="6769419"/>
            <a:ext cx="456079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FFFFFF"/>
                </a:solidFill>
                <a:latin typeface="Arial"/>
              </a:rPr>
              <a:t>Text</a:t>
            </a:r>
          </a:p>
        </p:txBody>
      </p:sp>
      <p:sp>
        <p:nvSpPr>
          <p:cNvPr id="138" name="Rectangle 138"/>
          <p:cNvSpPr/>
          <p:nvPr/>
        </p:nvSpPr>
        <p:spPr>
          <a:xfrm>
            <a:off x="2024265" y="2654619"/>
            <a:ext cx="591891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FFFFFF"/>
                </a:solidFill>
                <a:latin typeface="Arial"/>
              </a:rPr>
              <a:t>Voice</a:t>
            </a:r>
          </a:p>
        </p:txBody>
      </p:sp>
      <p:sp>
        <p:nvSpPr>
          <p:cNvPr id="139" name="Rectangle 139"/>
          <p:cNvSpPr/>
          <p:nvPr/>
        </p:nvSpPr>
        <p:spPr>
          <a:xfrm>
            <a:off x="14131137" y="11658919"/>
            <a:ext cx="660539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Ticket</a:t>
            </a:r>
          </a:p>
        </p:txBody>
      </p:sp>
      <p:sp>
        <p:nvSpPr>
          <p:cNvPr id="140" name="Rectangle 140"/>
          <p:cNvSpPr/>
          <p:nvPr/>
        </p:nvSpPr>
        <p:spPr>
          <a:xfrm>
            <a:off x="15873094" y="10768006"/>
            <a:ext cx="3992953" cy="192763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574" b="0" i="0" spc="0" baseline="0" dirty="0">
                <a:solidFill>
                  <a:srgbClr val="000000"/>
                </a:solidFill>
                <a:latin typeface="Arial"/>
              </a:rPr>
              <a:t>Fields:</a:t>
            </a:r>
          </a:p>
          <a:p>
            <a:pPr marL="0">
              <a:lnSpc>
                <a:spcPts val="1900"/>
              </a:lnSpc>
            </a:pPr>
            <a:r>
              <a:rPr lang="en-US" sz="1574" b="0" i="0" spc="0" baseline="0" dirty="0">
                <a:solidFill>
                  <a:srgbClr val="000000"/>
                </a:solidFill>
                <a:latin typeface="Arial"/>
              </a:rPr>
              <a:t>-Priority </a:t>
            </a:r>
          </a:p>
          <a:p>
            <a:pPr marL="0">
              <a:lnSpc>
                <a:spcPts val="1900"/>
              </a:lnSpc>
            </a:pPr>
            <a:r>
              <a:rPr lang="en-US" sz="1574" b="0" i="0" spc="0" baseline="0" dirty="0">
                <a:solidFill>
                  <a:srgbClr val="000000"/>
                </a:solidFill>
                <a:latin typeface="Arial"/>
              </a:rPr>
              <a:t>-Title </a:t>
            </a:r>
          </a:p>
          <a:p>
            <a:pPr marL="0">
              <a:lnSpc>
                <a:spcPts val="1900"/>
              </a:lnSpc>
            </a:pPr>
            <a:r>
              <a:rPr lang="en-US" sz="1574" b="0" i="0" spc="0" baseline="0" dirty="0">
                <a:solidFill>
                  <a:srgbClr val="000000"/>
                </a:solidFill>
                <a:latin typeface="Arial"/>
              </a:rPr>
              <a:t>-Description </a:t>
            </a:r>
          </a:p>
          <a:p>
            <a:pPr marL="0">
              <a:lnSpc>
                <a:spcPts val="1900"/>
              </a:lnSpc>
            </a:pPr>
            <a:r>
              <a:rPr lang="en-US" sz="1574" b="0" i="0" spc="0" baseline="0" dirty="0">
                <a:solidFill>
                  <a:srgbClr val="000000"/>
                </a:solidFill>
                <a:latin typeface="Arial"/>
              </a:rPr>
              <a:t>-Request Type (Problem, Incidents, Service </a:t>
            </a:r>
          </a:p>
          <a:p>
            <a:pPr marL="0">
              <a:lnSpc>
                <a:spcPts val="1900"/>
              </a:lnSpc>
            </a:pPr>
            <a:r>
              <a:rPr lang="en-US" sz="1574" b="0" i="0" spc="0" baseline="0" dirty="0">
                <a:solidFill>
                  <a:srgbClr val="000000"/>
                </a:solidFill>
                <a:latin typeface="Arial"/>
              </a:rPr>
              <a:t>Requests...) </a:t>
            </a:r>
          </a:p>
          <a:p>
            <a:pPr marL="0">
              <a:lnSpc>
                <a:spcPts val="1900"/>
              </a:lnSpc>
            </a:pPr>
            <a:r>
              <a:rPr lang="en-US" sz="1574" b="0" i="0" spc="0" baseline="0" dirty="0">
                <a:solidFill>
                  <a:srgbClr val="000000"/>
                </a:solidFill>
                <a:latin typeface="Arial"/>
              </a:rPr>
              <a:t>-Affected Person </a:t>
            </a:r>
          </a:p>
          <a:p>
            <a:pPr marL="0">
              <a:lnSpc>
                <a:spcPts val="1900"/>
              </a:lnSpc>
            </a:pPr>
            <a:r>
              <a:rPr lang="en-US" sz="1574" b="0" i="0" spc="0" baseline="0" dirty="0">
                <a:solidFill>
                  <a:srgbClr val="000000"/>
                </a:solidFill>
                <a:latin typeface="Arial"/>
              </a:rPr>
              <a:t>-Impact</a:t>
            </a:r>
          </a:p>
        </p:txBody>
      </p:sp>
      <p:sp>
        <p:nvSpPr>
          <p:cNvPr id="141" name="Rectangle 141"/>
          <p:cNvSpPr/>
          <p:nvPr/>
        </p:nvSpPr>
        <p:spPr>
          <a:xfrm>
            <a:off x="8119459" y="4423905"/>
            <a:ext cx="971138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Frontend</a:t>
            </a:r>
          </a:p>
        </p:txBody>
      </p:sp>
      <p:sp>
        <p:nvSpPr>
          <p:cNvPr id="142" name="Rectangle 142"/>
          <p:cNvSpPr/>
          <p:nvPr/>
        </p:nvSpPr>
        <p:spPr>
          <a:xfrm>
            <a:off x="7696349" y="6581413"/>
            <a:ext cx="870188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Website</a:t>
            </a:r>
          </a:p>
        </p:txBody>
      </p:sp>
      <p:sp>
        <p:nvSpPr>
          <p:cNvPr id="143" name="Rectangle 143"/>
          <p:cNvSpPr/>
          <p:nvPr/>
        </p:nvSpPr>
        <p:spPr>
          <a:xfrm>
            <a:off x="7572066" y="7798943"/>
            <a:ext cx="1118631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Mailserver</a:t>
            </a:r>
          </a:p>
        </p:txBody>
      </p:sp>
      <p:sp>
        <p:nvSpPr>
          <p:cNvPr id="144" name="Rectangle 144"/>
          <p:cNvSpPr/>
          <p:nvPr/>
        </p:nvSpPr>
        <p:spPr>
          <a:xfrm>
            <a:off x="14061871" y="7636412"/>
            <a:ext cx="1069070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Converter</a:t>
            </a:r>
          </a:p>
        </p:txBody>
      </p:sp>
      <p:sp>
        <p:nvSpPr>
          <p:cNvPr id="145" name="Rectangle 145"/>
          <p:cNvSpPr/>
          <p:nvPr/>
        </p:nvSpPr>
        <p:spPr>
          <a:xfrm>
            <a:off x="15710954" y="7505444"/>
            <a:ext cx="1994283" cy="5394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Converts input into </a:t>
            </a:r>
          </a:p>
          <a:p>
            <a:pPr marL="512596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pure text</a:t>
            </a:r>
          </a:p>
        </p:txBody>
      </p:sp>
      <p:sp>
        <p:nvSpPr>
          <p:cNvPr id="146" name="Rectangle 146"/>
          <p:cNvSpPr/>
          <p:nvPr/>
        </p:nvSpPr>
        <p:spPr>
          <a:xfrm>
            <a:off x="10373695" y="6866471"/>
            <a:ext cx="2283810" cy="178557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Sends input to the </a:t>
            </a:r>
          </a:p>
          <a:p>
            <a:pPr marL="493563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backend</a:t>
            </a:r>
          </a:p>
          <a:p>
            <a:pPr marL="241238">
              <a:lnSpc>
                <a:spcPts val="3512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Feedback loop for </a:t>
            </a:r>
          </a:p>
          <a:p>
            <a:pPr marL="102509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questions (best case </a:t>
            </a:r>
          </a:p>
          <a:p>
            <a:pPr marL="213087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scenario: there are </a:t>
            </a:r>
          </a:p>
          <a:p>
            <a:pPr marL="46717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no questions)</a:t>
            </a:r>
          </a:p>
        </p:txBody>
      </p:sp>
      <p:sp>
        <p:nvSpPr>
          <p:cNvPr id="147" name="Rectangle 147"/>
          <p:cNvSpPr/>
          <p:nvPr/>
        </p:nvSpPr>
        <p:spPr>
          <a:xfrm>
            <a:off x="20993138" y="2756764"/>
            <a:ext cx="5930570" cy="40065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Corner Points: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Langague: German only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Infere ticket type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Infere ticket priority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Tickets for only one groups, thus this does not need to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be infered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The look of the interface is not important, this is a proof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of concept and thus only the perfomance is relevant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The inputs are text (via Web App and Mail) and voice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(via Web App and maybe a call line)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The user is to be notified about the created ticket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Performance: Ticket creation time should not exceed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one minute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The output ticket should be in some general language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like JSON, XML etc.</a:t>
            </a:r>
          </a:p>
        </p:txBody>
      </p:sp>
      <p:sp>
        <p:nvSpPr>
          <p:cNvPr id="148" name="Rectangle 148"/>
          <p:cNvSpPr/>
          <p:nvPr/>
        </p:nvSpPr>
        <p:spPr>
          <a:xfrm rot="1184265">
            <a:off x="10875366" y="9196676"/>
            <a:ext cx="1740950" cy="5374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786" b="0" i="0" spc="0" baseline="0" dirty="0">
                <a:solidFill>
                  <a:srgbClr val="000000"/>
                </a:solidFill>
                <a:latin typeface="Arial"/>
              </a:rPr>
              <a:t>Ticket number is </a:t>
            </a:r>
          </a:p>
          <a:p>
            <a:pPr marL="17794">
              <a:lnSpc>
                <a:spcPts val="2100"/>
              </a:lnSpc>
            </a:pPr>
            <a:r>
              <a:rPr lang="en-US" sz="1786" b="0" i="0" spc="0" baseline="0" dirty="0">
                <a:solidFill>
                  <a:srgbClr val="000000"/>
                </a:solidFill>
                <a:latin typeface="Arial"/>
              </a:rPr>
              <a:t>send to the user</a:t>
            </a:r>
          </a:p>
        </p:txBody>
      </p:sp>
      <p:sp>
        <p:nvSpPr>
          <p:cNvPr id="149" name="Rectangle 149"/>
          <p:cNvSpPr/>
          <p:nvPr/>
        </p:nvSpPr>
        <p:spPr>
          <a:xfrm rot="5253">
            <a:off x="14987391" y="9975447"/>
            <a:ext cx="1731646" cy="5374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786" b="0" i="0" spc="0" baseline="0" dirty="0">
                <a:solidFill>
                  <a:srgbClr val="000000"/>
                </a:solidFill>
                <a:latin typeface="Arial"/>
              </a:rPr>
              <a:t>Ticket is created </a:t>
            </a:r>
          </a:p>
          <a:p>
            <a:pPr marL="313375">
              <a:lnSpc>
                <a:spcPts val="2100"/>
              </a:lnSpc>
            </a:pPr>
            <a:r>
              <a:rPr lang="en-US" sz="1786" b="0" i="0" spc="0" baseline="0" dirty="0">
                <a:solidFill>
                  <a:srgbClr val="000000"/>
                </a:solidFill>
                <a:latin typeface="Arial"/>
              </a:rPr>
              <a:t>from input</a:t>
            </a:r>
          </a:p>
        </p:txBody>
      </p:sp>
      <p:sp>
        <p:nvSpPr>
          <p:cNvPr id="150" name="Rectangle 150"/>
          <p:cNvSpPr/>
          <p:nvPr/>
        </p:nvSpPr>
        <p:spPr>
          <a:xfrm>
            <a:off x="2038899" y="565430"/>
            <a:ext cx="675855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Inputs</a:t>
            </a:r>
          </a:p>
        </p:txBody>
      </p:sp>
      <p:sp>
        <p:nvSpPr>
          <p:cNvPr id="151" name="Rectangle 151"/>
          <p:cNvSpPr/>
          <p:nvPr/>
        </p:nvSpPr>
        <p:spPr>
          <a:xfrm>
            <a:off x="16543616" y="13657590"/>
            <a:ext cx="751751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Output</a:t>
            </a:r>
          </a:p>
        </p:txBody>
      </p:sp>
      <p:sp>
        <p:nvSpPr>
          <p:cNvPr id="152" name="Rectangle 152"/>
          <p:cNvSpPr/>
          <p:nvPr/>
        </p:nvSpPr>
        <p:spPr>
          <a:xfrm>
            <a:off x="20944192" y="7365206"/>
            <a:ext cx="5904600" cy="13395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What to prioritise: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The precision of the created ticket compared to the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actual ticket. This means rather a slow answer but very </a:t>
            </a:r>
          </a:p>
          <a:p>
            <a:pPr marL="228600">
              <a:lnSpc>
                <a:spcPts val="2100"/>
              </a:lnSpc>
              <a:tabLst>
                <a:tab pos="5841049" algn="l"/>
                <a:tab pos="5841049" algn="l"/>
              </a:tabLst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good ticket then the other way around	 	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—&gt; precision &gt; performance</a:t>
            </a:r>
          </a:p>
        </p:txBody>
      </p:sp>
      <p:sp>
        <p:nvSpPr>
          <p:cNvPr id="153" name="Rectangle 153"/>
          <p:cNvSpPr/>
          <p:nvPr/>
        </p:nvSpPr>
        <p:spPr>
          <a:xfrm>
            <a:off x="20993138" y="11786250"/>
            <a:ext cx="5686196" cy="2939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Additional materials we will recieve: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The ticket input form / ticket fields with indications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which are required and which are optional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examples from past tickets to see how the tickets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should look like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Maybe calls / example voice recordings to know what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will be said to the AI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Mails to see what people write </a:t>
            </a:r>
          </a:p>
          <a:p>
            <a:pPr marL="0">
              <a:lnSpc>
                <a:spcPts val="2099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Potentially access to the „Wissensdatenbank" / FAQ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and other documenation for the model to learn to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answer some tickets already.</a:t>
            </a:r>
          </a:p>
        </p:txBody>
      </p:sp>
      <p:sp>
        <p:nvSpPr>
          <p:cNvPr id="154" name="Rectangle 154"/>
          <p:cNvSpPr/>
          <p:nvPr/>
        </p:nvSpPr>
        <p:spPr>
          <a:xfrm>
            <a:off x="20993138" y="9306648"/>
            <a:ext cx="5941480" cy="18729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Nice to haves: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Maybe the AI can even answer frequently ask questions </a:t>
            </a:r>
          </a:p>
          <a:p>
            <a:pPr marL="0">
              <a:lnSpc>
                <a:spcPts val="2100"/>
              </a:lnSpc>
            </a:pPr>
            <a:r>
              <a:rPr lang="en-US" sz="1800" b="0" i="0" spc="953" baseline="0" dirty="0">
                <a:solidFill>
                  <a:srgbClr val="000000"/>
                </a:solidFill>
                <a:latin typeface="Arial"/>
              </a:rPr>
              <a:t>•</a:t>
            </a: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For major incidents, the AI could recognise the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duplicate tickets and aswer them by informing the user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that this is a know problem and to please not call again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regarding this problem (MS down, or other major </a:t>
            </a:r>
          </a:p>
          <a:p>
            <a:pPr marL="228600">
              <a:lnSpc>
                <a:spcPts val="2100"/>
              </a:lnSpc>
            </a:pPr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things)</a:t>
            </a:r>
          </a:p>
        </p:txBody>
      </p:sp>
      <p:sp>
        <p:nvSpPr>
          <p:cNvPr id="155" name="Rectangle 155"/>
          <p:cNvSpPr/>
          <p:nvPr/>
        </p:nvSpPr>
        <p:spPr>
          <a:xfrm>
            <a:off x="7927340" y="5363884"/>
            <a:ext cx="408119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Call</a:t>
            </a:r>
          </a:p>
        </p:txBody>
      </p:sp>
      <p:sp>
        <p:nvSpPr>
          <p:cNvPr id="156" name="Rectangle 156"/>
          <p:cNvSpPr/>
          <p:nvPr/>
        </p:nvSpPr>
        <p:spPr>
          <a:xfrm>
            <a:off x="15142133" y="6059211"/>
            <a:ext cx="911108" cy="2727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solidFill>
                  <a:srgbClr val="000000"/>
                </a:solidFill>
                <a:latin typeface="Arial"/>
              </a:rPr>
              <a:t>pure text</a:t>
            </a:r>
          </a:p>
        </p:txBody>
      </p:sp>
      <p:sp>
        <p:nvSpPr>
          <p:cNvPr id="2" name="Multiplikationszeichen 1">
            <a:extLst>
              <a:ext uri="{FF2B5EF4-FFF2-40B4-BE49-F238E27FC236}">
                <a16:creationId xmlns:a16="http://schemas.microsoft.com/office/drawing/2014/main" id="{919A0CC5-253F-5A87-3BEF-0714CE59E8E1}"/>
              </a:ext>
            </a:extLst>
          </p:cNvPr>
          <p:cNvSpPr/>
          <p:nvPr/>
        </p:nvSpPr>
        <p:spPr>
          <a:xfrm>
            <a:off x="11058525" y="8954175"/>
            <a:ext cx="1053910" cy="948235"/>
          </a:xfrm>
          <a:prstGeom prst="mathMultiply">
            <a:avLst>
              <a:gd name="adj1" fmla="val 21800"/>
            </a:avLst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C68D6BA-6BAE-2E62-B770-3DE2E1F1B5EA}"/>
              </a:ext>
            </a:extLst>
          </p:cNvPr>
          <p:cNvSpPr txBox="1"/>
          <p:nvPr/>
        </p:nvSpPr>
        <p:spPr>
          <a:xfrm>
            <a:off x="6177612" y="10819312"/>
            <a:ext cx="6399593" cy="738664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lvl1pPr>
              <a:defRPr sz="1400"/>
            </a:lvl1pPr>
          </a:lstStyle>
          <a:p>
            <a:r>
              <a:rPr lang="de-DE" dirty="0"/>
              <a:t>Not </a:t>
            </a:r>
            <a:r>
              <a:rPr lang="de-DE" dirty="0" err="1"/>
              <a:t>needed</a:t>
            </a:r>
            <a:br>
              <a:rPr lang="de-DE" dirty="0"/>
            </a:br>
            <a:r>
              <a:rPr lang="de-DE" dirty="0"/>
              <a:t>TIMA </a:t>
            </a:r>
            <a:r>
              <a:rPr lang="de-DE" dirty="0" err="1"/>
              <a:t>sends</a:t>
            </a:r>
            <a:r>
              <a:rPr lang="de-DE" dirty="0"/>
              <a:t> a email </a:t>
            </a:r>
            <a:r>
              <a:rPr lang="de-DE" dirty="0" err="1"/>
              <a:t>with</a:t>
            </a:r>
            <a:r>
              <a:rPr lang="de-DE" dirty="0"/>
              <a:t> all ticket </a:t>
            </a:r>
            <a:r>
              <a:rPr lang="de-DE" dirty="0" err="1"/>
              <a:t>informations</a:t>
            </a:r>
            <a:endParaRPr lang="de-DE" dirty="0"/>
          </a:p>
          <a:p>
            <a:r>
              <a:rPr lang="de-DE" dirty="0"/>
              <a:t>I.B.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7C20116-7A2B-08E7-F4DE-969042C61B93}"/>
              </a:ext>
            </a:extLst>
          </p:cNvPr>
          <p:cNvCxnSpPr>
            <a:cxnSpLocks/>
            <a:stCxn id="3" idx="0"/>
            <a:endCxn id="2" idx="3"/>
          </p:cNvCxnSpPr>
          <p:nvPr/>
        </p:nvCxnSpPr>
        <p:spPr>
          <a:xfrm flipV="1">
            <a:off x="9377409" y="9674668"/>
            <a:ext cx="1934239" cy="114464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CF32695A-6763-D71E-BB8F-981446D89EA7}"/>
              </a:ext>
            </a:extLst>
          </p:cNvPr>
          <p:cNvSpPr txBox="1"/>
          <p:nvPr/>
        </p:nvSpPr>
        <p:spPr>
          <a:xfrm>
            <a:off x="17503718" y="10338575"/>
            <a:ext cx="3076796" cy="1600438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400" dirty="0"/>
              <a:t> send a </a:t>
            </a:r>
            <a:r>
              <a:rPr lang="de-DE" sz="1400" dirty="0" err="1"/>
              <a:t>structured</a:t>
            </a:r>
            <a:r>
              <a:rPr lang="de-DE" sz="1400" dirty="0"/>
              <a:t> email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tima</a:t>
            </a:r>
            <a:endParaRPr lang="de-DE" sz="1400" dirty="0"/>
          </a:p>
          <a:p>
            <a:r>
              <a:rPr lang="de-DE" sz="1400" dirty="0"/>
              <a:t>(</a:t>
            </a:r>
            <a:r>
              <a:rPr lang="de-DE" sz="1400" dirty="0" err="1"/>
              <a:t>no</a:t>
            </a:r>
            <a:r>
              <a:rPr lang="de-DE" sz="1400" dirty="0"/>
              <a:t> </a:t>
            </a:r>
            <a:r>
              <a:rPr lang="de-DE" sz="1400" dirty="0" err="1"/>
              <a:t>special</a:t>
            </a:r>
            <a:r>
              <a:rPr lang="de-DE" sz="1400" dirty="0"/>
              <a:t> interface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needed</a:t>
            </a:r>
            <a:r>
              <a:rPr lang="de-DE" sz="1400" dirty="0"/>
              <a:t>)</a:t>
            </a:r>
          </a:p>
          <a:p>
            <a:endParaRPr lang="de-DE" sz="1400" dirty="0"/>
          </a:p>
          <a:p>
            <a:r>
              <a:rPr lang="de-DE" sz="1400" dirty="0" err="1"/>
              <a:t>Requiered</a:t>
            </a:r>
            <a:r>
              <a:rPr lang="de-DE" sz="1400" dirty="0"/>
              <a:t> </a:t>
            </a:r>
            <a:r>
              <a:rPr lang="de-DE" sz="1400" dirty="0" err="1"/>
              <a:t>fields</a:t>
            </a:r>
            <a:r>
              <a:rPr lang="de-DE" sz="1400" dirty="0"/>
              <a:t> </a:t>
            </a:r>
            <a:r>
              <a:rPr lang="de-DE" sz="1400" dirty="0" err="1"/>
              <a:t>see</a:t>
            </a:r>
            <a:r>
              <a:rPr lang="de-DE" sz="1400" dirty="0"/>
              <a:t> </a:t>
            </a:r>
            <a:r>
              <a:rPr lang="de-DE" sz="1400" dirty="0" err="1"/>
              <a:t>Document</a:t>
            </a:r>
            <a:r>
              <a:rPr lang="de-DE" sz="1400" dirty="0"/>
              <a:t> </a:t>
            </a:r>
            <a:br>
              <a:rPr lang="de-DE" sz="1400" dirty="0"/>
            </a:br>
            <a:r>
              <a:rPr lang="de-DE" sz="1400" dirty="0"/>
              <a:t>„TIMA_1.6_Structured_Emails_Informationes“</a:t>
            </a:r>
          </a:p>
          <a:p>
            <a:r>
              <a:rPr lang="de-DE" sz="1400" dirty="0"/>
              <a:t>I.B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03ECDCD-3B06-7114-AA35-F64311427F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1921" y="11757461"/>
            <a:ext cx="6335284" cy="30665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9A46B99F-88FE-9B68-75CD-CB5671140E5B}"/>
              </a:ext>
            </a:extLst>
          </p:cNvPr>
          <p:cNvSpPr txBox="1"/>
          <p:nvPr/>
        </p:nvSpPr>
        <p:spPr>
          <a:xfrm>
            <a:off x="14693460" y="1739265"/>
            <a:ext cx="5656805" cy="59093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1400" b="1" dirty="0" err="1">
                <a:solidFill>
                  <a:srgbClr val="FF0000"/>
                </a:solidFill>
              </a:rPr>
              <a:t>Incident</a:t>
            </a:r>
            <a:endParaRPr lang="de-DE" sz="1400" b="1" dirty="0">
              <a:solidFill>
                <a:srgbClr val="FF0000"/>
              </a:solidFill>
            </a:endParaRPr>
          </a:p>
          <a:p>
            <a:endParaRPr lang="de-DE" sz="1400" dirty="0"/>
          </a:p>
          <a:p>
            <a:r>
              <a:rPr lang="en-US" sz="1400" dirty="0"/>
              <a:t>###Title:Start###</a:t>
            </a:r>
          </a:p>
          <a:p>
            <a:endParaRPr lang="en-US" sz="1400" dirty="0"/>
          </a:p>
          <a:p>
            <a:r>
              <a:rPr lang="en-US" sz="1400" dirty="0"/>
              <a:t>###Title:End###</a:t>
            </a:r>
          </a:p>
          <a:p>
            <a:endParaRPr lang="en-US" sz="1400" dirty="0"/>
          </a:p>
          <a:p>
            <a:r>
              <a:rPr lang="en-US" sz="1400" dirty="0"/>
              <a:t>###Note: only one GID or e-mail address is allowed###</a:t>
            </a:r>
          </a:p>
          <a:p>
            <a:r>
              <a:rPr lang="en-US" sz="1400" dirty="0"/>
              <a:t>###AffectedPerson:Start###</a:t>
            </a:r>
          </a:p>
          <a:p>
            <a:endParaRPr lang="en-US" sz="1400" dirty="0"/>
          </a:p>
          <a:p>
            <a:r>
              <a:rPr lang="en-US" sz="1400" dirty="0"/>
              <a:t>###AffectedPerson:End###</a:t>
            </a:r>
          </a:p>
          <a:p>
            <a:endParaRPr lang="en-US" sz="1400" dirty="0"/>
          </a:p>
          <a:p>
            <a:r>
              <a:rPr lang="en-US" sz="1400" dirty="0"/>
              <a:t>###Note: only one GID or e-mail address is allowed###</a:t>
            </a:r>
          </a:p>
          <a:p>
            <a:r>
              <a:rPr lang="en-US" sz="1400" dirty="0"/>
              <a:t>###ReportingPerson:Start###</a:t>
            </a:r>
          </a:p>
          <a:p>
            <a:endParaRPr lang="en-US" sz="1400" dirty="0"/>
          </a:p>
          <a:p>
            <a:r>
              <a:rPr lang="en-US" sz="1400" dirty="0"/>
              <a:t>###ReportingPerson:End###</a:t>
            </a:r>
          </a:p>
          <a:p>
            <a:endParaRPr lang="en-US" sz="1400" dirty="0"/>
          </a:p>
          <a:p>
            <a:r>
              <a:rPr lang="en-US" sz="1400" dirty="0"/>
              <a:t>###Message:Start###</a:t>
            </a:r>
          </a:p>
          <a:p>
            <a:endParaRPr lang="en-US" sz="1400" dirty="0"/>
          </a:p>
          <a:p>
            <a:r>
              <a:rPr lang="en-US" sz="1400" dirty="0"/>
              <a:t>###Message:End###</a:t>
            </a:r>
          </a:p>
          <a:p>
            <a:endParaRPr lang="en-US" sz="1400" dirty="0"/>
          </a:p>
          <a:p>
            <a:r>
              <a:rPr lang="en-US" sz="1400" dirty="0"/>
              <a:t>###KindOfRequest:Incident</a:t>
            </a:r>
          </a:p>
          <a:p>
            <a:endParaRPr lang="en-US" sz="1400" dirty="0"/>
          </a:p>
          <a:p>
            <a:r>
              <a:rPr lang="en-US" sz="1400" dirty="0"/>
              <a:t>###CustomerPriorityID:1044092</a:t>
            </a:r>
          </a:p>
          <a:p>
            <a:endParaRPr lang="en-US" sz="1400" dirty="0"/>
          </a:p>
          <a:p>
            <a:r>
              <a:rPr lang="en-US" sz="1400" dirty="0"/>
              <a:t>###ServiceID:1253229</a:t>
            </a:r>
          </a:p>
          <a:p>
            <a:endParaRPr lang="en-US" sz="1400" dirty="0"/>
          </a:p>
          <a:p>
            <a:r>
              <a:rPr lang="en-US" sz="1400" dirty="0"/>
              <a:t>###CategoryID:1254237</a:t>
            </a:r>
            <a:endParaRPr lang="de-DE" sz="14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9C643E1-EB2D-595C-9512-CF2F836E8443}"/>
              </a:ext>
            </a:extLst>
          </p:cNvPr>
          <p:cNvSpPr txBox="1"/>
          <p:nvPr/>
        </p:nvSpPr>
        <p:spPr>
          <a:xfrm>
            <a:off x="21044932" y="1739265"/>
            <a:ext cx="5656805" cy="590931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>
            <a:spAutoFit/>
          </a:bodyPr>
          <a:lstStyle/>
          <a:p>
            <a:r>
              <a:rPr lang="de-DE" sz="1400" b="1" dirty="0">
                <a:solidFill>
                  <a:srgbClr val="92D050"/>
                </a:solidFill>
              </a:rPr>
              <a:t>Service Request</a:t>
            </a:r>
          </a:p>
          <a:p>
            <a:endParaRPr lang="de-DE" sz="1400" dirty="0"/>
          </a:p>
          <a:p>
            <a:r>
              <a:rPr lang="en-US" sz="1400" dirty="0"/>
              <a:t>###Title:Start###</a:t>
            </a:r>
          </a:p>
          <a:p>
            <a:endParaRPr lang="en-US" sz="1400" dirty="0"/>
          </a:p>
          <a:p>
            <a:r>
              <a:rPr lang="en-US" sz="1400" dirty="0"/>
              <a:t>###Title:End###</a:t>
            </a:r>
          </a:p>
          <a:p>
            <a:endParaRPr lang="en-US" sz="1400" dirty="0"/>
          </a:p>
          <a:p>
            <a:r>
              <a:rPr lang="en-US" sz="1400" dirty="0"/>
              <a:t>###Note: only one GID or e-mail address is allowed###</a:t>
            </a:r>
          </a:p>
          <a:p>
            <a:r>
              <a:rPr lang="en-US" sz="1400" dirty="0"/>
              <a:t>###AffectedPerson:Start###</a:t>
            </a:r>
          </a:p>
          <a:p>
            <a:endParaRPr lang="en-US" sz="1400" dirty="0"/>
          </a:p>
          <a:p>
            <a:r>
              <a:rPr lang="en-US" sz="1400" dirty="0"/>
              <a:t>###AffectedPerson:End###</a:t>
            </a:r>
          </a:p>
          <a:p>
            <a:endParaRPr lang="en-US" sz="1400" dirty="0"/>
          </a:p>
          <a:p>
            <a:r>
              <a:rPr lang="en-US" sz="1400" dirty="0"/>
              <a:t>###Note: only one GID or e-mail address is allowed###</a:t>
            </a:r>
          </a:p>
          <a:p>
            <a:r>
              <a:rPr lang="en-US" sz="1400" dirty="0"/>
              <a:t>###ReportingPerson:Start###</a:t>
            </a:r>
          </a:p>
          <a:p>
            <a:endParaRPr lang="en-US" sz="1400" dirty="0"/>
          </a:p>
          <a:p>
            <a:r>
              <a:rPr lang="en-US" sz="1400" dirty="0"/>
              <a:t>###ReportingPerson:End###</a:t>
            </a:r>
          </a:p>
          <a:p>
            <a:endParaRPr lang="en-US" sz="1400" dirty="0"/>
          </a:p>
          <a:p>
            <a:r>
              <a:rPr lang="en-US" sz="1400" dirty="0"/>
              <a:t>###Message:Start###</a:t>
            </a:r>
          </a:p>
          <a:p>
            <a:endParaRPr lang="en-US" sz="1400" dirty="0"/>
          </a:p>
          <a:p>
            <a:r>
              <a:rPr lang="en-US" sz="1400" dirty="0"/>
              <a:t>###Message:End###</a:t>
            </a:r>
          </a:p>
          <a:p>
            <a:endParaRPr lang="en-US" sz="1400" dirty="0"/>
          </a:p>
          <a:p>
            <a:r>
              <a:rPr lang="en-US" sz="1400" dirty="0"/>
              <a:t>###KindOfRequest:ServiceRequest</a:t>
            </a:r>
          </a:p>
          <a:p>
            <a:endParaRPr lang="en-US" sz="1400" dirty="0"/>
          </a:p>
          <a:p>
            <a:r>
              <a:rPr lang="en-US" sz="1400" dirty="0"/>
              <a:t>###CustomerPriorityID:1044094</a:t>
            </a:r>
          </a:p>
          <a:p>
            <a:endParaRPr lang="en-US" sz="1400" dirty="0"/>
          </a:p>
          <a:p>
            <a:r>
              <a:rPr lang="en-US" sz="1400" dirty="0"/>
              <a:t>###ServiceID:1253229</a:t>
            </a:r>
          </a:p>
          <a:p>
            <a:endParaRPr lang="en-US" sz="1400" dirty="0"/>
          </a:p>
          <a:p>
            <a:r>
              <a:rPr lang="en-US" sz="1400" dirty="0"/>
              <a:t>###CategoryID:1254250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84A0824-8B15-1045-8801-1BBF447083D3}"/>
              </a:ext>
            </a:extLst>
          </p:cNvPr>
          <p:cNvSpPr txBox="1"/>
          <p:nvPr/>
        </p:nvSpPr>
        <p:spPr>
          <a:xfrm>
            <a:off x="14308764" y="480925"/>
            <a:ext cx="1371123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b="1" dirty="0">
                <a:solidFill>
                  <a:schemeClr val="tx2">
                    <a:lumMod val="75000"/>
                  </a:schemeClr>
                </a:solidFill>
              </a:rPr>
              <a:t>Testscenario Fürth – Structured Email</a:t>
            </a:r>
          </a:p>
          <a:p>
            <a:endParaRPr lang="de-DE" dirty="0"/>
          </a:p>
          <a:p>
            <a:r>
              <a:rPr lang="de-DE" dirty="0"/>
              <a:t>Email will </a:t>
            </a:r>
            <a:r>
              <a:rPr lang="de-DE" dirty="0" err="1"/>
              <a:t>se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: </a:t>
            </a:r>
            <a:r>
              <a:rPr lang="de-DE" dirty="0">
                <a:hlinkClick r:id="rId2"/>
              </a:rPr>
              <a:t>tima.it@siemens.com</a:t>
            </a:r>
            <a:endParaRPr lang="de-DE" dirty="0"/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329680CF-7754-8BDF-CEE4-F8C242B9D4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149721"/>
              </p:ext>
            </p:extLst>
          </p:nvPr>
        </p:nvGraphicFramePr>
        <p:xfrm>
          <a:off x="2941340" y="1234349"/>
          <a:ext cx="8793805" cy="63753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448AE375-F8E5-36C8-3CD6-05007C14D2EE}"/>
              </a:ext>
            </a:extLst>
          </p:cNvPr>
          <p:cNvSpPr/>
          <p:nvPr/>
        </p:nvSpPr>
        <p:spPr>
          <a:xfrm>
            <a:off x="6256506" y="232145"/>
            <a:ext cx="2070371" cy="914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IMA-Service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A835960-7343-209B-000B-6F6FA3FB104F}"/>
              </a:ext>
            </a:extLst>
          </p:cNvPr>
          <p:cNvSpPr/>
          <p:nvPr/>
        </p:nvSpPr>
        <p:spPr>
          <a:xfrm>
            <a:off x="9171561" y="188244"/>
            <a:ext cx="2070371" cy="914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Configuration</a:t>
            </a:r>
            <a:r>
              <a:rPr lang="de-DE" dirty="0"/>
              <a:t> </a:t>
            </a:r>
            <a:r>
              <a:rPr lang="de-DE" dirty="0" err="1"/>
              <a:t>element</a:t>
            </a:r>
            <a:r>
              <a:rPr lang="de-DE" dirty="0"/>
              <a:t> 4 </a:t>
            </a:r>
            <a:r>
              <a:rPr lang="de-DE" dirty="0" err="1"/>
              <a:t>struc</a:t>
            </a:r>
            <a:r>
              <a:rPr lang="de-DE" dirty="0"/>
              <a:t> email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BB95CBF-D3F1-EBC8-7BD5-5D4EF164BBE6}"/>
              </a:ext>
            </a:extLst>
          </p:cNvPr>
          <p:cNvSpPr txBox="1"/>
          <p:nvPr/>
        </p:nvSpPr>
        <p:spPr>
          <a:xfrm>
            <a:off x="329463" y="483654"/>
            <a:ext cx="36107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b="1" dirty="0">
                <a:solidFill>
                  <a:schemeClr val="tx2">
                    <a:lumMod val="75000"/>
                  </a:schemeClr>
                </a:solidFill>
              </a:rPr>
              <a:t>Service </a:t>
            </a:r>
            <a:r>
              <a:rPr lang="de-DE" sz="2400" b="1" dirty="0" err="1">
                <a:solidFill>
                  <a:schemeClr val="tx2">
                    <a:lumMod val="75000"/>
                  </a:schemeClr>
                </a:solidFill>
              </a:rPr>
              <a:t>Overview</a:t>
            </a:r>
            <a:endParaRPr lang="de-DE" sz="2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0A0E6BC-34AB-1BD4-99B0-6F35274E142D}"/>
              </a:ext>
            </a:extLst>
          </p:cNvPr>
          <p:cNvSpPr txBox="1"/>
          <p:nvPr/>
        </p:nvSpPr>
        <p:spPr>
          <a:xfrm>
            <a:off x="6256506" y="7847463"/>
            <a:ext cx="2070371" cy="116955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5 TIMA services (5 locations) must be differentiated during the evaluation (where does the user come from)</a:t>
            </a:r>
            <a:endParaRPr lang="de-DE" sz="1400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B4F5FB1-3193-C0CB-D048-F9E0427CD2DB}"/>
              </a:ext>
            </a:extLst>
          </p:cNvPr>
          <p:cNvSpPr txBox="1"/>
          <p:nvPr/>
        </p:nvSpPr>
        <p:spPr>
          <a:xfrm>
            <a:off x="9171561" y="7847462"/>
            <a:ext cx="2070371" cy="1384995"/>
          </a:xfrm>
          <a:prstGeom prst="rect">
            <a:avLst/>
          </a:prstGeom>
          <a:noFill/>
          <a:ln w="28575"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start with 2 differentiations 1 incident category / 1 service request category</a:t>
            </a:r>
          </a:p>
          <a:p>
            <a:r>
              <a:rPr lang="en-US" sz="1400" dirty="0"/>
              <a:t>(can be expanded later)</a:t>
            </a:r>
            <a:endParaRPr lang="de-DE" sz="14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A577CA-055A-067B-F149-914F8A433C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693460" y="8031913"/>
            <a:ext cx="5827891" cy="193095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549B624-BAE1-4849-C594-90139D1948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051791" y="8031913"/>
            <a:ext cx="5827891" cy="19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35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BI8Z1oNrZLoIa4nnmjBWcFAAAAAAADAAAAAwADAAAAAQADAAEA////////BAAAAAMAEAALqd+qk/oft0yzCzATcuuZb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wL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BAEDAAAAAwD///////8lAAZMaW5rZWRTaGFwZVByZXNlbnRhdGlvblNldHRpbmdzRGF0YV8wBQAAAAEABAAAAAAABAAAAAIABAAAAAAABAAAAAIA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EBI8Z1oNrZLoIa4nnmjBWcDRGF0YQAbAAAABExpbmtlZFNoYXBlRGF0YQAFAAAAAAACTmFtZQAZAAAATGlua2VkU2hhcGVzRGF0YVByb3BlcnR5ABBWZXJzaW9uAAAAAAAJTGFzdFdyaXRlAIkE5aOLAQAAAAEA/////8YAxgAAAAVfaWQAEAAAAASp36qT+h+3TLMLMBNy65ltA0RhdGEAUwAAAAhQcmVzZW50YXRpb25TY2FubmVkRm9yTGlua2VkU2hhcGVzAAECTnVtYmVyRm9ybWF0U2VwYXJhdG9yTW9kZQAKAAAAQXV0b21hdGljAAACTmFtZQAkAAAATGlua2VkU2hhcGVQcmVzZW50YXRpb25TZXR0aW5nc0RhdGEAEFZlcnNpb24AAAAAAAlMYXN0V3JpdGUAuQTlo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noFill/>
        <a:pattFill/>
        <a:grpFill/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0">
              <a:schemeClr val="phClr">
                <a:tint val="50000"/>
                <a:satMod val="300000"/>
              </a:schemeClr>
            </a:gs>
            <a:gs pos="0">
              <a:schemeClr val="phClr">
                <a:tint val="50000"/>
                <a:satMod val="300000"/>
              </a:schemeClr>
            </a:gs>
          </a:gsLst>
          <a:lin ang="16200000" scaled="1"/>
        </a:gradFill>
        <a:gradFill>
          <a:gsLst>
            <a:gs pos="0">
              <a:schemeClr val="phClr">
                <a:tint val="50000"/>
                <a:satMod val="300000"/>
              </a:schemeClr>
            </a:gs>
            <a:gs pos="0">
              <a:schemeClr val="phClr">
                <a:tint val="50000"/>
                <a:satMod val="30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2</Words>
  <Application>Microsoft Office PowerPoint</Application>
  <PresentationFormat>Benutzerdefiniert</PresentationFormat>
  <Paragraphs>150</Paragraphs>
  <Slides>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5" baseType="lpstr">
      <vt:lpstr>Calibri</vt:lpstr>
      <vt:lpstr>Arial</vt:lpstr>
      <vt:lpstr>Office Theme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tan, Ivica (DI FA HMI COS IT)</dc:creator>
  <cp:lastModifiedBy>Brtan, Ivica (DI FA HMI COS IT)</cp:lastModifiedBy>
  <cp:revision>1</cp:revision>
  <dcterms:modified xsi:type="dcterms:W3CDTF">2023-11-10T14:4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d258917-277f-42cd-a3cd-14c4e9ee58bc_Enabled">
    <vt:lpwstr>true</vt:lpwstr>
  </property>
  <property fmtid="{D5CDD505-2E9C-101B-9397-08002B2CF9AE}" pid="3" name="MSIP_Label_9d258917-277f-42cd-a3cd-14c4e9ee58bc_SetDate">
    <vt:lpwstr>2023-11-06T09:10:07Z</vt:lpwstr>
  </property>
  <property fmtid="{D5CDD505-2E9C-101B-9397-08002B2CF9AE}" pid="4" name="MSIP_Label_9d258917-277f-42cd-a3cd-14c4e9ee58bc_Method">
    <vt:lpwstr>Standard</vt:lpwstr>
  </property>
  <property fmtid="{D5CDD505-2E9C-101B-9397-08002B2CF9AE}" pid="5" name="MSIP_Label_9d258917-277f-42cd-a3cd-14c4e9ee58bc_Name">
    <vt:lpwstr>restricted</vt:lpwstr>
  </property>
  <property fmtid="{D5CDD505-2E9C-101B-9397-08002B2CF9AE}" pid="6" name="MSIP_Label_9d258917-277f-42cd-a3cd-14c4e9ee58bc_SiteId">
    <vt:lpwstr>38ae3bcd-9579-4fd4-adda-b42e1495d55a</vt:lpwstr>
  </property>
  <property fmtid="{D5CDD505-2E9C-101B-9397-08002B2CF9AE}" pid="7" name="MSIP_Label_9d258917-277f-42cd-a3cd-14c4e9ee58bc_ActionId">
    <vt:lpwstr>094760d7-f082-439e-a42a-c9e0fb493b57</vt:lpwstr>
  </property>
  <property fmtid="{D5CDD505-2E9C-101B-9397-08002B2CF9AE}" pid="8" name="MSIP_Label_9d258917-277f-42cd-a3cd-14c4e9ee58bc_ContentBits">
    <vt:lpwstr>0</vt:lpwstr>
  </property>
</Properties>
</file>